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36"/>
  </p:notesMasterIdLst>
  <p:sldIdLst>
    <p:sldId id="256" r:id="rId2"/>
    <p:sldId id="315" r:id="rId3"/>
    <p:sldId id="420" r:id="rId4"/>
    <p:sldId id="421" r:id="rId5"/>
    <p:sldId id="422" r:id="rId6"/>
    <p:sldId id="423" r:id="rId7"/>
    <p:sldId id="424" r:id="rId8"/>
    <p:sldId id="426" r:id="rId9"/>
    <p:sldId id="425" r:id="rId10"/>
    <p:sldId id="427" r:id="rId11"/>
    <p:sldId id="428" r:id="rId12"/>
    <p:sldId id="429" r:id="rId13"/>
    <p:sldId id="430" r:id="rId14"/>
    <p:sldId id="431" r:id="rId15"/>
    <p:sldId id="432" r:id="rId16"/>
    <p:sldId id="433" r:id="rId17"/>
    <p:sldId id="434" r:id="rId18"/>
    <p:sldId id="435" r:id="rId19"/>
    <p:sldId id="436" r:id="rId20"/>
    <p:sldId id="437" r:id="rId21"/>
    <p:sldId id="438" r:id="rId22"/>
    <p:sldId id="439" r:id="rId23"/>
    <p:sldId id="440" r:id="rId24"/>
    <p:sldId id="441" r:id="rId25"/>
    <p:sldId id="443" r:id="rId26"/>
    <p:sldId id="444" r:id="rId27"/>
    <p:sldId id="445" r:id="rId28"/>
    <p:sldId id="446" r:id="rId29"/>
    <p:sldId id="447" r:id="rId30"/>
    <p:sldId id="448" r:id="rId31"/>
    <p:sldId id="449" r:id="rId32"/>
    <p:sldId id="450" r:id="rId33"/>
    <p:sldId id="451" r:id="rId34"/>
    <p:sldId id="261" r:id="rId35"/>
  </p:sldIdLst>
  <p:sldSz cx="12192000" cy="6858000"/>
  <p:notesSz cx="6858000" cy="9144000"/>
  <p:custDataLst>
    <p:tags r:id="rId3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5C"/>
    <a:srgbClr val="06D24C"/>
    <a:srgbClr val="035920"/>
    <a:srgbClr val="F6F5F3"/>
    <a:srgbClr val="04862F"/>
    <a:srgbClr val="07DB4E"/>
    <a:srgbClr val="08396E"/>
    <a:srgbClr val="0519AB"/>
    <a:srgbClr val="06B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384" y="53"/>
      </p:cViewPr>
      <p:guideLst>
        <p:guide orient="horz" pos="2160"/>
        <p:guide pos="383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3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790060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000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3" name="任意多边形: 形状 22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20" name="任意多边形: 形状 19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306656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602927"/>
            <a:ext cx="10850563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5" y="4456729"/>
            <a:ext cx="1085056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1028701"/>
            <a:ext cx="10850563" cy="3136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2_1"/>
          <p:cNvSpPr>
            <a:spLocks noChangeArrowheads="1"/>
          </p:cNvSpPr>
          <p:nvPr userDrawn="1"/>
        </p:nvSpPr>
        <p:spPr bwMode="auto">
          <a:xfrm>
            <a:off x="190500" y="3192312"/>
            <a:ext cx="12192000" cy="3429000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 dpi="0" rotWithShape="1">
            <a:blip r:embed="rId2">
              <a:alphaModFix amt="60000"/>
            </a:blip>
            <a:srcRect/>
            <a:stretch>
              <a:fillRect t="-93255" b="-3145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488168" y="2033814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489284" y="2929164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>
            <a:off x="-9525" y="-9525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/>
          <p:cNvSpPr/>
          <p:nvPr userDrawn="1"/>
        </p:nvSpPr>
        <p:spPr bwMode="auto">
          <a:xfrm flipH="1" flipV="1">
            <a:off x="-1219199" y="239311"/>
            <a:ext cx="13411199" cy="80118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 rot="10800000">
            <a:off x="-28575" y="6321199"/>
            <a:ext cx="12220575" cy="942975"/>
          </a:xfrm>
          <a:custGeom>
            <a:avLst/>
            <a:gdLst>
              <a:gd name="connsiteX0" fmla="*/ 0 w 12220575"/>
              <a:gd name="connsiteY0" fmla="*/ 0 h 942975"/>
              <a:gd name="connsiteX1" fmla="*/ 9525 w 12220575"/>
              <a:gd name="connsiteY1" fmla="*/ 647700 h 942975"/>
              <a:gd name="connsiteX2" fmla="*/ 2686050 w 12220575"/>
              <a:gd name="connsiteY2" fmla="*/ 942975 h 942975"/>
              <a:gd name="connsiteX3" fmla="*/ 5124450 w 12220575"/>
              <a:gd name="connsiteY3" fmla="*/ 923925 h 942975"/>
              <a:gd name="connsiteX4" fmla="*/ 7277100 w 12220575"/>
              <a:gd name="connsiteY4" fmla="*/ 809625 h 942975"/>
              <a:gd name="connsiteX5" fmla="*/ 9296400 w 12220575"/>
              <a:gd name="connsiteY5" fmla="*/ 466725 h 942975"/>
              <a:gd name="connsiteX6" fmla="*/ 11325225 w 12220575"/>
              <a:gd name="connsiteY6" fmla="*/ 314325 h 942975"/>
              <a:gd name="connsiteX7" fmla="*/ 12220575 w 12220575"/>
              <a:gd name="connsiteY7" fmla="*/ 352425 h 942975"/>
              <a:gd name="connsiteX8" fmla="*/ 12182475 w 12220575"/>
              <a:gd name="connsiteY8" fmla="*/ 9525 h 942975"/>
              <a:gd name="connsiteX9" fmla="*/ 0 w 12220575"/>
              <a:gd name="connsiteY9" fmla="*/ 0 h 942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20575" h="942975">
                <a:moveTo>
                  <a:pt x="0" y="0"/>
                </a:moveTo>
                <a:lnTo>
                  <a:pt x="9525" y="647700"/>
                </a:lnTo>
                <a:lnTo>
                  <a:pt x="2686050" y="942975"/>
                </a:lnTo>
                <a:lnTo>
                  <a:pt x="5124450" y="923925"/>
                </a:lnTo>
                <a:lnTo>
                  <a:pt x="7277100" y="809625"/>
                </a:lnTo>
                <a:lnTo>
                  <a:pt x="9296400" y="466725"/>
                </a:lnTo>
                <a:lnTo>
                  <a:pt x="11325225" y="314325"/>
                </a:lnTo>
                <a:lnTo>
                  <a:pt x="12220575" y="352425"/>
                </a:lnTo>
                <a:lnTo>
                  <a:pt x="12182475" y="95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" name="任意多边形: 形状 11"/>
          <p:cNvSpPr/>
          <p:nvPr userDrawn="1"/>
        </p:nvSpPr>
        <p:spPr bwMode="auto">
          <a:xfrm>
            <a:off x="-9525" y="6230938"/>
            <a:ext cx="12201525" cy="801179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FF00"/>
              </a:gs>
              <a:gs pos="11000">
                <a:srgbClr val="FFC0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sp>
        <p:nvSpPr>
          <p:cNvPr id="2" name="文本框 1"/>
          <p:cNvSpPr txBox="1"/>
          <p:nvPr userDrawn="1"/>
        </p:nvSpPr>
        <p:spPr>
          <a:xfrm>
            <a:off x="11520488" y="6486465"/>
            <a:ext cx="671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79552D3-A968-4710-B841-1063F5B640DF}" type="slidenum">
              <a:rPr lang="zh-CN" altLang="en-US" sz="2000" b="1" smtClean="0">
                <a:solidFill>
                  <a:schemeClr val="accent2">
                    <a:lumMod val="50000"/>
                  </a:schemeClr>
                </a:solidFill>
              </a:rPr>
              <a:t>‹#›</a:t>
            </a:fld>
            <a:endParaRPr lang="zh-CN" alt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410" y="24187"/>
            <a:ext cx="527050" cy="5270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26766-F62E-419D-BB7F-91C9CEBCA24E}" type="datetime1">
              <a:rPr lang="zh-CN" altLang="en-US" smtClean="0"/>
              <a:t>2022/3/1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2_1"/>
          <p:cNvSpPr>
            <a:spLocks noChangeArrowheads="1"/>
          </p:cNvSpPr>
          <p:nvPr userDrawn="1"/>
        </p:nvSpPr>
        <p:spPr bwMode="auto">
          <a:xfrm>
            <a:off x="0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t="-28757" b="-15909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0" name="任意多边形: 形状 9"/>
          <p:cNvSpPr>
            <a:spLocks noChangeArrowheads="1"/>
          </p:cNvSpPr>
          <p:nvPr userDrawn="1"/>
        </p:nvSpPr>
        <p:spPr bwMode="auto">
          <a:xfrm>
            <a:off x="-794" y="1531703"/>
            <a:ext cx="12192000" cy="5326297"/>
          </a:xfrm>
          <a:custGeom>
            <a:avLst/>
            <a:gdLst>
              <a:gd name="connsiteX0" fmla="*/ 7259662 w 12192000"/>
              <a:gd name="connsiteY0" fmla="*/ 57321 h 5381035"/>
              <a:gd name="connsiteX1" fmla="*/ 12192000 w 12192000"/>
              <a:gd name="connsiteY1" fmla="*/ 3668162 h 5381035"/>
              <a:gd name="connsiteX2" fmla="*/ 12192000 w 12192000"/>
              <a:gd name="connsiteY2" fmla="*/ 5381035 h 5381035"/>
              <a:gd name="connsiteX3" fmla="*/ 0 w 12192000"/>
              <a:gd name="connsiteY3" fmla="*/ 5381035 h 5381035"/>
              <a:gd name="connsiteX4" fmla="*/ 0 w 12192000"/>
              <a:gd name="connsiteY4" fmla="*/ 4393412 h 5381035"/>
              <a:gd name="connsiteX5" fmla="*/ 4798 w 12192000"/>
              <a:gd name="connsiteY5" fmla="*/ 4668077 h 5381035"/>
              <a:gd name="connsiteX6" fmla="*/ 3480102 w 12192000"/>
              <a:gd name="connsiteY6" fmla="*/ 3079813 h 5381035"/>
              <a:gd name="connsiteX7" fmla="*/ 6789914 w 12192000"/>
              <a:gd name="connsiteY7" fmla="*/ 82876 h 5381035"/>
              <a:gd name="connsiteX8" fmla="*/ 7259662 w 12192000"/>
              <a:gd name="connsiteY8" fmla="*/ 57321 h 5381035"/>
              <a:gd name="connsiteX9" fmla="*/ 10803922 w 12192000"/>
              <a:gd name="connsiteY9" fmla="*/ 0 h 5381035"/>
              <a:gd name="connsiteX10" fmla="*/ 12192000 w 12192000"/>
              <a:gd name="connsiteY10" fmla="*/ 0 h 5381035"/>
              <a:gd name="connsiteX11" fmla="*/ 12192000 w 12192000"/>
              <a:gd name="connsiteY11" fmla="*/ 1322246 h 5381035"/>
              <a:gd name="connsiteX12" fmla="*/ 10969953 w 12192000"/>
              <a:gd name="connsiteY12" fmla="*/ 120266 h 5381035"/>
              <a:gd name="connsiteX13" fmla="*/ 0 w 12192000"/>
              <a:gd name="connsiteY13" fmla="*/ 0 h 5381035"/>
              <a:gd name="connsiteX14" fmla="*/ 4032282 w 12192000"/>
              <a:gd name="connsiteY14" fmla="*/ 0 h 5381035"/>
              <a:gd name="connsiteX15" fmla="*/ 3968734 w 12192000"/>
              <a:gd name="connsiteY15" fmla="*/ 60350 h 5381035"/>
              <a:gd name="connsiteX16" fmla="*/ 2309846 w 12192000"/>
              <a:gd name="connsiteY16" fmla="*/ 2073351 h 5381035"/>
              <a:gd name="connsiteX17" fmla="*/ 26916 w 12192000"/>
              <a:gd name="connsiteY17" fmla="*/ 3331235 h 5381035"/>
              <a:gd name="connsiteX18" fmla="*/ 0 w 12192000"/>
              <a:gd name="connsiteY18" fmla="*/ 3321905 h 5381035"/>
              <a:gd name="connsiteX0-1" fmla="*/ 7259662 w 12192000"/>
              <a:gd name="connsiteY0-2" fmla="*/ 57321 h 5381035"/>
              <a:gd name="connsiteX1-3" fmla="*/ 12192000 w 12192000"/>
              <a:gd name="connsiteY1-4" fmla="*/ 3668162 h 5381035"/>
              <a:gd name="connsiteX2-5" fmla="*/ 12192000 w 12192000"/>
              <a:gd name="connsiteY2-6" fmla="*/ 5381035 h 5381035"/>
              <a:gd name="connsiteX3-7" fmla="*/ 0 w 12192000"/>
              <a:gd name="connsiteY3-8" fmla="*/ 5381035 h 5381035"/>
              <a:gd name="connsiteX4-9" fmla="*/ 0 w 12192000"/>
              <a:gd name="connsiteY4-10" fmla="*/ 4393412 h 5381035"/>
              <a:gd name="connsiteX5-11" fmla="*/ 4798 w 12192000"/>
              <a:gd name="connsiteY5-12" fmla="*/ 4668077 h 5381035"/>
              <a:gd name="connsiteX6-13" fmla="*/ 3480102 w 12192000"/>
              <a:gd name="connsiteY6-14" fmla="*/ 3079813 h 5381035"/>
              <a:gd name="connsiteX7-15" fmla="*/ 6789914 w 12192000"/>
              <a:gd name="connsiteY7-16" fmla="*/ 82876 h 5381035"/>
              <a:gd name="connsiteX8-17" fmla="*/ 7259662 w 12192000"/>
              <a:gd name="connsiteY8-18" fmla="*/ 57321 h 5381035"/>
              <a:gd name="connsiteX9-19" fmla="*/ 10803922 w 12192000"/>
              <a:gd name="connsiteY9-20" fmla="*/ 0 h 5381035"/>
              <a:gd name="connsiteX10-21" fmla="*/ 12192000 w 12192000"/>
              <a:gd name="connsiteY10-22" fmla="*/ 0 h 5381035"/>
              <a:gd name="connsiteX11-23" fmla="*/ 12192000 w 12192000"/>
              <a:gd name="connsiteY11-24" fmla="*/ 1322246 h 5381035"/>
              <a:gd name="connsiteX12-25" fmla="*/ 10969953 w 12192000"/>
              <a:gd name="connsiteY12-26" fmla="*/ 120266 h 5381035"/>
              <a:gd name="connsiteX13-27" fmla="*/ 10803922 w 12192000"/>
              <a:gd name="connsiteY13-28" fmla="*/ 0 h 5381035"/>
              <a:gd name="connsiteX14-29" fmla="*/ 0 w 12192000"/>
              <a:gd name="connsiteY14-30" fmla="*/ 3321905 h 5381035"/>
              <a:gd name="connsiteX15-31" fmla="*/ 4032282 w 12192000"/>
              <a:gd name="connsiteY15-32" fmla="*/ 0 h 5381035"/>
              <a:gd name="connsiteX16-33" fmla="*/ 3968734 w 12192000"/>
              <a:gd name="connsiteY16-34" fmla="*/ 60350 h 5381035"/>
              <a:gd name="connsiteX17-35" fmla="*/ 2309846 w 12192000"/>
              <a:gd name="connsiteY17-36" fmla="*/ 2073351 h 5381035"/>
              <a:gd name="connsiteX18-37" fmla="*/ 26916 w 12192000"/>
              <a:gd name="connsiteY18-38" fmla="*/ 3331235 h 5381035"/>
              <a:gd name="connsiteX19" fmla="*/ 0 w 12192000"/>
              <a:gd name="connsiteY19" fmla="*/ 3321905 h 5381035"/>
              <a:gd name="connsiteX0-39" fmla="*/ 7259662 w 12192000"/>
              <a:gd name="connsiteY0-40" fmla="*/ 57321 h 5381035"/>
              <a:gd name="connsiteX1-41" fmla="*/ 12192000 w 12192000"/>
              <a:gd name="connsiteY1-42" fmla="*/ 3668162 h 5381035"/>
              <a:gd name="connsiteX2-43" fmla="*/ 12192000 w 12192000"/>
              <a:gd name="connsiteY2-44" fmla="*/ 5381035 h 5381035"/>
              <a:gd name="connsiteX3-45" fmla="*/ 0 w 12192000"/>
              <a:gd name="connsiteY3-46" fmla="*/ 5381035 h 5381035"/>
              <a:gd name="connsiteX4-47" fmla="*/ 0 w 12192000"/>
              <a:gd name="connsiteY4-48" fmla="*/ 4393412 h 5381035"/>
              <a:gd name="connsiteX5-49" fmla="*/ 4798 w 12192000"/>
              <a:gd name="connsiteY5-50" fmla="*/ 4668077 h 5381035"/>
              <a:gd name="connsiteX6-51" fmla="*/ 3480102 w 12192000"/>
              <a:gd name="connsiteY6-52" fmla="*/ 3079813 h 5381035"/>
              <a:gd name="connsiteX7-53" fmla="*/ 6789914 w 12192000"/>
              <a:gd name="connsiteY7-54" fmla="*/ 82876 h 5381035"/>
              <a:gd name="connsiteX8-55" fmla="*/ 7259662 w 12192000"/>
              <a:gd name="connsiteY8-56" fmla="*/ 57321 h 5381035"/>
              <a:gd name="connsiteX9-57" fmla="*/ 10803922 w 12192000"/>
              <a:gd name="connsiteY9-58" fmla="*/ 0 h 5381035"/>
              <a:gd name="connsiteX10-59" fmla="*/ 12192000 w 12192000"/>
              <a:gd name="connsiteY10-60" fmla="*/ 0 h 5381035"/>
              <a:gd name="connsiteX11-61" fmla="*/ 12192000 w 12192000"/>
              <a:gd name="connsiteY11-62" fmla="*/ 1322246 h 5381035"/>
              <a:gd name="connsiteX12-63" fmla="*/ 10969953 w 12192000"/>
              <a:gd name="connsiteY12-64" fmla="*/ 120266 h 5381035"/>
              <a:gd name="connsiteX13-65" fmla="*/ 10803922 w 12192000"/>
              <a:gd name="connsiteY13-66" fmla="*/ 0 h 5381035"/>
              <a:gd name="connsiteX14-67" fmla="*/ 0 w 12192000"/>
              <a:gd name="connsiteY14-68" fmla="*/ 3321905 h 5381035"/>
              <a:gd name="connsiteX15-69" fmla="*/ 4032282 w 12192000"/>
              <a:gd name="connsiteY15-70" fmla="*/ 0 h 5381035"/>
              <a:gd name="connsiteX16-71" fmla="*/ 2309846 w 12192000"/>
              <a:gd name="connsiteY16-72" fmla="*/ 2073351 h 5381035"/>
              <a:gd name="connsiteX17-73" fmla="*/ 26916 w 12192000"/>
              <a:gd name="connsiteY17-74" fmla="*/ 3331235 h 5381035"/>
              <a:gd name="connsiteX18-75" fmla="*/ 0 w 12192000"/>
              <a:gd name="connsiteY18-76" fmla="*/ 3321905 h 5381035"/>
              <a:gd name="connsiteX0-77" fmla="*/ 7259662 w 12192000"/>
              <a:gd name="connsiteY0-78" fmla="*/ 57321 h 5381035"/>
              <a:gd name="connsiteX1-79" fmla="*/ 12192000 w 12192000"/>
              <a:gd name="connsiteY1-80" fmla="*/ 3668162 h 5381035"/>
              <a:gd name="connsiteX2-81" fmla="*/ 12192000 w 12192000"/>
              <a:gd name="connsiteY2-82" fmla="*/ 5381035 h 5381035"/>
              <a:gd name="connsiteX3-83" fmla="*/ 0 w 12192000"/>
              <a:gd name="connsiteY3-84" fmla="*/ 5381035 h 5381035"/>
              <a:gd name="connsiteX4-85" fmla="*/ 0 w 12192000"/>
              <a:gd name="connsiteY4-86" fmla="*/ 4393412 h 5381035"/>
              <a:gd name="connsiteX5-87" fmla="*/ 4798 w 12192000"/>
              <a:gd name="connsiteY5-88" fmla="*/ 4668077 h 5381035"/>
              <a:gd name="connsiteX6-89" fmla="*/ 3480102 w 12192000"/>
              <a:gd name="connsiteY6-90" fmla="*/ 3079813 h 5381035"/>
              <a:gd name="connsiteX7-91" fmla="*/ 6789914 w 12192000"/>
              <a:gd name="connsiteY7-92" fmla="*/ 82876 h 5381035"/>
              <a:gd name="connsiteX8-93" fmla="*/ 7259662 w 12192000"/>
              <a:gd name="connsiteY8-94" fmla="*/ 57321 h 5381035"/>
              <a:gd name="connsiteX9-95" fmla="*/ 10803922 w 12192000"/>
              <a:gd name="connsiteY9-96" fmla="*/ 0 h 5381035"/>
              <a:gd name="connsiteX10-97" fmla="*/ 12192000 w 12192000"/>
              <a:gd name="connsiteY10-98" fmla="*/ 0 h 5381035"/>
              <a:gd name="connsiteX11-99" fmla="*/ 12192000 w 12192000"/>
              <a:gd name="connsiteY11-100" fmla="*/ 1322246 h 5381035"/>
              <a:gd name="connsiteX12-101" fmla="*/ 10969953 w 12192000"/>
              <a:gd name="connsiteY12-102" fmla="*/ 120266 h 5381035"/>
              <a:gd name="connsiteX13-103" fmla="*/ 10803922 w 12192000"/>
              <a:gd name="connsiteY13-104" fmla="*/ 0 h 5381035"/>
              <a:gd name="connsiteX14-105" fmla="*/ 0 w 12192000"/>
              <a:gd name="connsiteY14-106" fmla="*/ 3321905 h 5381035"/>
              <a:gd name="connsiteX15-107" fmla="*/ 2309846 w 12192000"/>
              <a:gd name="connsiteY15-108" fmla="*/ 2073351 h 5381035"/>
              <a:gd name="connsiteX16-109" fmla="*/ 26916 w 12192000"/>
              <a:gd name="connsiteY16-110" fmla="*/ 3331235 h 5381035"/>
              <a:gd name="connsiteX17-111" fmla="*/ 0 w 12192000"/>
              <a:gd name="connsiteY17-112" fmla="*/ 3321905 h 5381035"/>
              <a:gd name="connsiteX0-113" fmla="*/ 7259662 w 12192000"/>
              <a:gd name="connsiteY0-114" fmla="*/ 57321 h 5381035"/>
              <a:gd name="connsiteX1-115" fmla="*/ 12192000 w 12192000"/>
              <a:gd name="connsiteY1-116" fmla="*/ 3668162 h 5381035"/>
              <a:gd name="connsiteX2-117" fmla="*/ 12192000 w 12192000"/>
              <a:gd name="connsiteY2-118" fmla="*/ 5381035 h 5381035"/>
              <a:gd name="connsiteX3-119" fmla="*/ 0 w 12192000"/>
              <a:gd name="connsiteY3-120" fmla="*/ 5381035 h 5381035"/>
              <a:gd name="connsiteX4-121" fmla="*/ 0 w 12192000"/>
              <a:gd name="connsiteY4-122" fmla="*/ 4393412 h 5381035"/>
              <a:gd name="connsiteX5-123" fmla="*/ 4798 w 12192000"/>
              <a:gd name="connsiteY5-124" fmla="*/ 4668077 h 5381035"/>
              <a:gd name="connsiteX6-125" fmla="*/ 3480102 w 12192000"/>
              <a:gd name="connsiteY6-126" fmla="*/ 3079813 h 5381035"/>
              <a:gd name="connsiteX7-127" fmla="*/ 6789914 w 12192000"/>
              <a:gd name="connsiteY7-128" fmla="*/ 82876 h 5381035"/>
              <a:gd name="connsiteX8-129" fmla="*/ 7259662 w 12192000"/>
              <a:gd name="connsiteY8-130" fmla="*/ 57321 h 5381035"/>
              <a:gd name="connsiteX9-131" fmla="*/ 10803922 w 12192000"/>
              <a:gd name="connsiteY9-132" fmla="*/ 0 h 5381035"/>
              <a:gd name="connsiteX10-133" fmla="*/ 12192000 w 12192000"/>
              <a:gd name="connsiteY10-134" fmla="*/ 0 h 5381035"/>
              <a:gd name="connsiteX11-135" fmla="*/ 12192000 w 12192000"/>
              <a:gd name="connsiteY11-136" fmla="*/ 1322246 h 5381035"/>
              <a:gd name="connsiteX12-137" fmla="*/ 10969953 w 12192000"/>
              <a:gd name="connsiteY12-138" fmla="*/ 120266 h 5381035"/>
              <a:gd name="connsiteX13-139" fmla="*/ 10803922 w 12192000"/>
              <a:gd name="connsiteY13-140" fmla="*/ 0 h 5381035"/>
              <a:gd name="connsiteX14-141" fmla="*/ 26916 w 12192000"/>
              <a:gd name="connsiteY14-142" fmla="*/ 3331235 h 5381035"/>
              <a:gd name="connsiteX15-143" fmla="*/ 2309846 w 12192000"/>
              <a:gd name="connsiteY15-144" fmla="*/ 2073351 h 5381035"/>
              <a:gd name="connsiteX16-145" fmla="*/ 26916 w 12192000"/>
              <a:gd name="connsiteY16-146" fmla="*/ 3331235 h 5381035"/>
              <a:gd name="connsiteX0-147" fmla="*/ 7259662 w 12192000"/>
              <a:gd name="connsiteY0-148" fmla="*/ 57321 h 5381035"/>
              <a:gd name="connsiteX1-149" fmla="*/ 12192000 w 12192000"/>
              <a:gd name="connsiteY1-150" fmla="*/ 3668162 h 5381035"/>
              <a:gd name="connsiteX2-151" fmla="*/ 12192000 w 12192000"/>
              <a:gd name="connsiteY2-152" fmla="*/ 5381035 h 5381035"/>
              <a:gd name="connsiteX3-153" fmla="*/ 0 w 12192000"/>
              <a:gd name="connsiteY3-154" fmla="*/ 5381035 h 5381035"/>
              <a:gd name="connsiteX4-155" fmla="*/ 0 w 12192000"/>
              <a:gd name="connsiteY4-156" fmla="*/ 4393412 h 5381035"/>
              <a:gd name="connsiteX5-157" fmla="*/ 4798 w 12192000"/>
              <a:gd name="connsiteY5-158" fmla="*/ 4668077 h 5381035"/>
              <a:gd name="connsiteX6-159" fmla="*/ 3480102 w 12192000"/>
              <a:gd name="connsiteY6-160" fmla="*/ 3079813 h 5381035"/>
              <a:gd name="connsiteX7-161" fmla="*/ 6789914 w 12192000"/>
              <a:gd name="connsiteY7-162" fmla="*/ 82876 h 5381035"/>
              <a:gd name="connsiteX8-163" fmla="*/ 7259662 w 12192000"/>
              <a:gd name="connsiteY8-164" fmla="*/ 57321 h 5381035"/>
              <a:gd name="connsiteX9-165" fmla="*/ 10803922 w 12192000"/>
              <a:gd name="connsiteY9-166" fmla="*/ 0 h 5381035"/>
              <a:gd name="connsiteX10-167" fmla="*/ 12192000 w 12192000"/>
              <a:gd name="connsiteY10-168" fmla="*/ 0 h 5381035"/>
              <a:gd name="connsiteX11-169" fmla="*/ 12192000 w 12192000"/>
              <a:gd name="connsiteY11-170" fmla="*/ 1322246 h 5381035"/>
              <a:gd name="connsiteX12-171" fmla="*/ 10969953 w 12192000"/>
              <a:gd name="connsiteY12-172" fmla="*/ 120266 h 5381035"/>
              <a:gd name="connsiteX13-173" fmla="*/ 10803922 w 12192000"/>
              <a:gd name="connsiteY13-174" fmla="*/ 0 h 5381035"/>
              <a:gd name="connsiteX0-175" fmla="*/ 7259662 w 12192000"/>
              <a:gd name="connsiteY0-176" fmla="*/ 57321 h 5381035"/>
              <a:gd name="connsiteX1-177" fmla="*/ 12192000 w 12192000"/>
              <a:gd name="connsiteY1-178" fmla="*/ 3668162 h 5381035"/>
              <a:gd name="connsiteX2-179" fmla="*/ 12192000 w 12192000"/>
              <a:gd name="connsiteY2-180" fmla="*/ 5381035 h 5381035"/>
              <a:gd name="connsiteX3-181" fmla="*/ 0 w 12192000"/>
              <a:gd name="connsiteY3-182" fmla="*/ 5381035 h 5381035"/>
              <a:gd name="connsiteX4-183" fmla="*/ 0 w 12192000"/>
              <a:gd name="connsiteY4-184" fmla="*/ 4393412 h 5381035"/>
              <a:gd name="connsiteX5-185" fmla="*/ 4798 w 12192000"/>
              <a:gd name="connsiteY5-186" fmla="*/ 4668077 h 5381035"/>
              <a:gd name="connsiteX6-187" fmla="*/ 3480102 w 12192000"/>
              <a:gd name="connsiteY6-188" fmla="*/ 3079813 h 5381035"/>
              <a:gd name="connsiteX7-189" fmla="*/ 6789914 w 12192000"/>
              <a:gd name="connsiteY7-190" fmla="*/ 82876 h 5381035"/>
              <a:gd name="connsiteX8-191" fmla="*/ 7259662 w 12192000"/>
              <a:gd name="connsiteY8-192" fmla="*/ 57321 h 5381035"/>
              <a:gd name="connsiteX9-193" fmla="*/ 10803922 w 12192000"/>
              <a:gd name="connsiteY9-194" fmla="*/ 0 h 5381035"/>
              <a:gd name="connsiteX10-195" fmla="*/ 12192000 w 12192000"/>
              <a:gd name="connsiteY10-196" fmla="*/ 1322246 h 5381035"/>
              <a:gd name="connsiteX11-197" fmla="*/ 10969953 w 12192000"/>
              <a:gd name="connsiteY11-198" fmla="*/ 120266 h 5381035"/>
              <a:gd name="connsiteX12-199" fmla="*/ 10803922 w 12192000"/>
              <a:gd name="connsiteY12-200" fmla="*/ 0 h 5381035"/>
              <a:gd name="connsiteX0-201" fmla="*/ 7259662 w 12192000"/>
              <a:gd name="connsiteY0-202" fmla="*/ 2583 h 5326297"/>
              <a:gd name="connsiteX1-203" fmla="*/ 12192000 w 12192000"/>
              <a:gd name="connsiteY1-204" fmla="*/ 3613424 h 5326297"/>
              <a:gd name="connsiteX2-205" fmla="*/ 12192000 w 12192000"/>
              <a:gd name="connsiteY2-206" fmla="*/ 5326297 h 5326297"/>
              <a:gd name="connsiteX3-207" fmla="*/ 0 w 12192000"/>
              <a:gd name="connsiteY3-208" fmla="*/ 5326297 h 5326297"/>
              <a:gd name="connsiteX4-209" fmla="*/ 0 w 12192000"/>
              <a:gd name="connsiteY4-210" fmla="*/ 4338674 h 5326297"/>
              <a:gd name="connsiteX5-211" fmla="*/ 4798 w 12192000"/>
              <a:gd name="connsiteY5-212" fmla="*/ 4613339 h 5326297"/>
              <a:gd name="connsiteX6-213" fmla="*/ 3480102 w 12192000"/>
              <a:gd name="connsiteY6-214" fmla="*/ 3025075 h 5326297"/>
              <a:gd name="connsiteX7-215" fmla="*/ 6789914 w 12192000"/>
              <a:gd name="connsiteY7-216" fmla="*/ 28138 h 5326297"/>
              <a:gd name="connsiteX8-217" fmla="*/ 7259662 w 12192000"/>
              <a:gd name="connsiteY8-218" fmla="*/ 2583 h 5326297"/>
              <a:gd name="connsiteX9-219" fmla="*/ 10969953 w 12192000"/>
              <a:gd name="connsiteY9-220" fmla="*/ 65528 h 5326297"/>
              <a:gd name="connsiteX10-221" fmla="*/ 12192000 w 12192000"/>
              <a:gd name="connsiteY10-222" fmla="*/ 1267508 h 5326297"/>
              <a:gd name="connsiteX11-223" fmla="*/ 10969953 w 12192000"/>
              <a:gd name="connsiteY11-224" fmla="*/ 65528 h 5326297"/>
              <a:gd name="connsiteX0-225" fmla="*/ 7259662 w 12192000"/>
              <a:gd name="connsiteY0-226" fmla="*/ 2583 h 5326297"/>
              <a:gd name="connsiteX1-227" fmla="*/ 12192000 w 12192000"/>
              <a:gd name="connsiteY1-228" fmla="*/ 3613424 h 5326297"/>
              <a:gd name="connsiteX2-229" fmla="*/ 12192000 w 12192000"/>
              <a:gd name="connsiteY2-230" fmla="*/ 5326297 h 5326297"/>
              <a:gd name="connsiteX3-231" fmla="*/ 0 w 12192000"/>
              <a:gd name="connsiteY3-232" fmla="*/ 5326297 h 5326297"/>
              <a:gd name="connsiteX4-233" fmla="*/ 0 w 12192000"/>
              <a:gd name="connsiteY4-234" fmla="*/ 4338674 h 5326297"/>
              <a:gd name="connsiteX5-235" fmla="*/ 4798 w 12192000"/>
              <a:gd name="connsiteY5-236" fmla="*/ 4613339 h 5326297"/>
              <a:gd name="connsiteX6-237" fmla="*/ 3480102 w 12192000"/>
              <a:gd name="connsiteY6-238" fmla="*/ 3025075 h 5326297"/>
              <a:gd name="connsiteX7-239" fmla="*/ 6789914 w 12192000"/>
              <a:gd name="connsiteY7-240" fmla="*/ 28138 h 5326297"/>
              <a:gd name="connsiteX8-241" fmla="*/ 7259662 w 12192000"/>
              <a:gd name="connsiteY8-242" fmla="*/ 2583 h 5326297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</a:cxnLst>
            <a:rect l="l" t="t" r="r" b="b"/>
            <a:pathLst>
              <a:path w="12192000" h="5326297">
                <a:moveTo>
                  <a:pt x="7259662" y="2583"/>
                </a:moveTo>
                <a:cubicBezTo>
                  <a:pt x="9625834" y="111255"/>
                  <a:pt x="12192000" y="3613424"/>
                  <a:pt x="12192000" y="3613424"/>
                </a:cubicBezTo>
                <a:lnTo>
                  <a:pt x="12192000" y="5326297"/>
                </a:lnTo>
                <a:lnTo>
                  <a:pt x="0" y="5326297"/>
                </a:lnTo>
                <a:lnTo>
                  <a:pt x="0" y="4338674"/>
                </a:lnTo>
                <a:cubicBezTo>
                  <a:pt x="1599" y="4430229"/>
                  <a:pt x="3199" y="4521784"/>
                  <a:pt x="4798" y="4613339"/>
                </a:cubicBezTo>
                <a:cubicBezTo>
                  <a:pt x="4798" y="4613339"/>
                  <a:pt x="1766092" y="5316740"/>
                  <a:pt x="3480102" y="3025075"/>
                </a:cubicBezTo>
                <a:cubicBezTo>
                  <a:pt x="5194112" y="732474"/>
                  <a:pt x="5876761" y="174992"/>
                  <a:pt x="6789914" y="28138"/>
                </a:cubicBezTo>
                <a:cubicBezTo>
                  <a:pt x="6945061" y="3175"/>
                  <a:pt x="7101917" y="-4662"/>
                  <a:pt x="7259662" y="2583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034971" y="2163199"/>
            <a:ext cx="6536871" cy="239042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034971" y="5238353"/>
            <a:ext cx="65368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034973" y="4942082"/>
            <a:ext cx="6536871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任意多边形: 形状 10"/>
          <p:cNvSpPr/>
          <p:nvPr userDrawn="1"/>
        </p:nvSpPr>
        <p:spPr bwMode="auto">
          <a:xfrm>
            <a:off x="0" y="543509"/>
            <a:ext cx="12192000" cy="6167761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78000">
                <a:srgbClr val="FFC000"/>
              </a:gs>
              <a:gs pos="11000">
                <a:schemeClr val="accent1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7FE44A0-2E53-457E-9AC0-11D6EE9FA3B5}" type="datetime1">
              <a:rPr lang="zh-CN" altLang="en-US" smtClean="0"/>
              <a:t>2022/3/12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Relationship Id="rId4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.xml"/><Relationship Id="rId4" Type="http://schemas.openxmlformats.org/officeDocument/2006/relationships/image" Target="../media/image1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Relationship Id="rId4" Type="http://schemas.openxmlformats.org/officeDocument/2006/relationships/image" Target="../media/image2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Relationship Id="rId4" Type="http://schemas.openxmlformats.org/officeDocument/2006/relationships/image" Target="../media/image1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.xml"/><Relationship Id="rId4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6.xml"/><Relationship Id="rId4" Type="http://schemas.openxmlformats.org/officeDocument/2006/relationships/image" Target="../media/image2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4" Type="http://schemas.openxmlformats.org/officeDocument/2006/relationships/image" Target="../media/image2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Relationship Id="rId4" Type="http://schemas.openxmlformats.org/officeDocument/2006/relationships/image" Target="../media/image2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4" Type="http://schemas.openxmlformats.org/officeDocument/2006/relationships/image" Target="../media/image2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Relationship Id="rId4" Type="http://schemas.openxmlformats.org/officeDocument/2006/relationships/image" Target="../media/image3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4" Type="http://schemas.openxmlformats.org/officeDocument/2006/relationships/image" Target="../media/image31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19455"/>
            <a:ext cx="10850563" cy="3136900"/>
          </a:xfrm>
        </p:spPr>
        <p:txBody>
          <a:bodyPr>
            <a:normAutofit/>
          </a:bodyPr>
          <a:lstStyle/>
          <a:p>
            <a:r>
              <a:rPr lang="en-US" altLang="zh-CN" sz="4800" dirty="0" err="1" smtClean="0"/>
              <a:t>Redis</a:t>
            </a:r>
            <a:r>
              <a:rPr lang="en-US" altLang="zh-CN" sz="4800" dirty="0" smtClean="0"/>
              <a:t> 6 </a:t>
            </a:r>
            <a:r>
              <a:rPr lang="zh-CN" altLang="en-US" sz="4800" dirty="0" smtClean="0"/>
              <a:t>开发与实战</a:t>
            </a:r>
            <a:endParaRPr lang="zh-CN" altLang="en-US" sz="2000" b="0" dirty="0"/>
          </a:p>
        </p:txBody>
      </p:sp>
      <p:sp>
        <p:nvSpPr>
          <p:cNvPr id="29" name="任意多边形: 形状 28"/>
          <p:cNvSpPr/>
          <p:nvPr/>
        </p:nvSpPr>
        <p:spPr>
          <a:xfrm>
            <a:off x="10968292" y="649047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684121" y="5993053"/>
            <a:ext cx="2074491" cy="431799"/>
          </a:xfrm>
          <a:prstGeom prst="rect">
            <a:avLst/>
          </a:prstGeom>
        </p:spPr>
      </p:pic>
      <p:sp>
        <p:nvSpPr>
          <p:cNvPr id="22" name="矩形: 圆角 21"/>
          <p:cNvSpPr/>
          <p:nvPr/>
        </p:nvSpPr>
        <p:spPr>
          <a:xfrm>
            <a:off x="800099" y="4579447"/>
            <a:ext cx="4235540" cy="459272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主讲教师：</a:t>
            </a:r>
            <a:r>
              <a:rPr lang="en-US" altLang="zh-CN" b="1" dirty="0">
                <a:solidFill>
                  <a:schemeClr val="tx1"/>
                </a:solidFill>
              </a:rPr>
              <a:t>XXX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1186" y="488949"/>
            <a:ext cx="631826" cy="63182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1328775" y="589418"/>
            <a:ext cx="452720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大数据教材《</a:t>
            </a:r>
            <a:r>
              <a:rPr lang="en-US" altLang="zh-CN" sz="2200" dirty="0" err="1" smtClean="0">
                <a:solidFill>
                  <a:schemeClr val="bg1"/>
                </a:solidFill>
                <a:sym typeface="+mn-ea"/>
              </a:rPr>
              <a:t>Redis</a:t>
            </a:r>
            <a:r>
              <a:rPr lang="en-US" altLang="zh-CN" sz="2200" dirty="0" smtClean="0">
                <a:solidFill>
                  <a:schemeClr val="bg1"/>
                </a:solidFill>
                <a:sym typeface="+mn-ea"/>
              </a:rPr>
              <a:t> 6</a:t>
            </a:r>
            <a:r>
              <a:rPr lang="zh-CN" altLang="en-US" sz="2200" dirty="0" smtClean="0">
                <a:solidFill>
                  <a:schemeClr val="bg1"/>
                </a:solidFill>
                <a:sym typeface="+mn-ea"/>
              </a:rPr>
              <a:t>开发与实战》</a:t>
            </a:r>
            <a:endParaRPr lang="zh-CN" altLang="en-US" sz="2200" b="1" dirty="0">
              <a:solidFill>
                <a:schemeClr val="accent2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3450" y="5034280"/>
            <a:ext cx="6122035" cy="155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学院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邮箱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地点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  <a:p>
            <a:pPr algn="l">
              <a:lnSpc>
                <a:spcPct val="132000"/>
              </a:lnSpc>
            </a:pPr>
            <a:r>
              <a:rPr lang="zh-CN" altLang="en-US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办公电话：</a:t>
            </a:r>
            <a:r>
              <a:rPr lang="en-US" altLang="zh-CN" dirty="0">
                <a:solidFill>
                  <a:srgbClr val="0000FF"/>
                </a:solidFill>
                <a:latin typeface="Times New Roman" panose="02020603050405020304" charset="0"/>
                <a:ea typeface="微软雅黑" panose="020B0503020204020204" pitchFamily="34" charset="-122"/>
                <a:cs typeface="+mn-ea"/>
                <a:sym typeface="Times New Roman" panose="02020603050405020304" charset="0"/>
              </a:rPr>
              <a:t>XXX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</a:p>
          <a:p>
            <a:pPr algn="l">
              <a:buNone/>
            </a:pP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2635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263525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</a:t>
                      </a:r>
                      <a:r>
                        <a:t>使用SET 命令创立50条string类型的数据</a:t>
                      </a:r>
                      <a:r>
                        <a:rPr lang="zh-CN"/>
                        <a:t>：（篇幅所限创建两条为例）</a:t>
                      </a:r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endParaRPr lang="zh-CN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4075" y="3000375"/>
            <a:ext cx="4196080" cy="126746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</a:p>
          <a:p>
            <a:pPr algn="l">
              <a:buNone/>
            </a:pP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1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391160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</a:t>
                      </a:r>
                      <a:r>
                        <a:t>使用 SCAN 命令迭代数据库中的key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3130" y="2966720"/>
            <a:ext cx="4714875" cy="2771775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</a:p>
          <a:p>
            <a:pPr algn="l">
              <a:buNone/>
            </a:pP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1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391160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</a:t>
                      </a:r>
                      <a:r>
                        <a:t>使用 SCAN 命令迭代数据库中的key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6940" y="2943860"/>
            <a:ext cx="6231255" cy="2712085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EXISTS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64008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EXIS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ISTS key 查看一个键是否存在，如果键存在则返回1， 否则返回0</a:t>
                      </a:r>
                    </a:p>
                  </a:txBody>
                  <a:tcPr anchor="ctr"/>
                </a:tc>
              </a:tr>
              <a:tr h="2717800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zh-CN" altLang="en-US"/>
                        <a:t>从结果中不存在address这个key，但是name这个key存在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5120" y="3304540"/>
            <a:ext cx="5603875" cy="182245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DEL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64008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/>
                        <a:t>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EL key [key ...] 删除键, 返回值为删除键的个数</a:t>
                      </a:r>
                    </a:p>
                  </a:txBody>
                  <a:tcPr anchor="ctr"/>
                </a:tc>
              </a:tr>
              <a:tr h="2717800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/>
                        <a:t>在本例中可以看出name这个key是存在的，删除后就不存在了</a:t>
                      </a:r>
                      <a:r>
                        <a:rPr lang="en-US" altLang="zh-CN"/>
                        <a:t>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2430" y="3303270"/>
            <a:ext cx="5767070" cy="1614170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EXPIRE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9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64008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/>
                        <a:t>EXPI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PIRE key seconds ,该命令为设置key的过期时间，单位为秒。超过该时间后，Key被自动的删除。</a:t>
                      </a:r>
                    </a:p>
                  </a:txBody>
                  <a:tcPr anchor="ctr"/>
                </a:tc>
              </a:tr>
              <a:tr h="2717800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返回值为1表示超时被设置，返回值为0则表示Key不存在，不能被设置为超时。</a:t>
                      </a:r>
                    </a:p>
                    <a:p>
                      <a:pPr algn="l">
                        <a:buNone/>
                      </a:pPr>
                      <a:r>
                        <a:rPr lang="zh-CN" altLang="en-US">
                          <a:solidFill>
                            <a:srgbClr val="FF0000"/>
                          </a:solidFill>
                        </a:rPr>
                        <a:t>注意：</a:t>
                      </a:r>
                      <a:r>
                        <a:rPr lang="zh-CN" altLang="en-US"/>
                        <a:t>如果key已经存在过期时间，在通过expire设置的时候回覆盖之前过期时间。</a:t>
                      </a:r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zh-CN" altLang="en-US"/>
                        <a:t>在本例中，使用expire命令让cache_page存在一分钟。等待一分钟，一分钟后 cache_page这个key会自动删除，就不存在了。可以使用exists命令查看这个key</a:t>
                      </a:r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en-US" altLang="zh-C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1485" y="3830955"/>
            <a:ext cx="4319905" cy="101409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1485" y="5480050"/>
            <a:ext cx="4320540" cy="57658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TTL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23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886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69278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/>
                        <a:t>TT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TL key ，获取该键的过期时间。该命令以秒为单位返回key的剩余时间，如果该键不存在或没有超时设置，则返回-2</a:t>
                      </a:r>
                    </a:p>
                  </a:txBody>
                  <a:tcPr anchor="ctr"/>
                </a:tc>
              </a:tr>
              <a:tr h="2941955">
                <a:tc gridSpan="2">
                  <a:txBody>
                    <a:bodyPr/>
                    <a:lstStyle/>
                    <a:p>
                      <a:pPr marL="3836670" indent="278765" algn="l">
                        <a:lnSpc>
                          <a:spcPct val="140000"/>
                        </a:lnSpc>
                        <a:buNone/>
                      </a:pPr>
                      <a:r>
                        <a:rPr lang="en-US" altLang="zh-CN"/>
                        <a:t>在本例中，我们设置cache_page2这个key的过期时间是60秒，然后我们不断用ttl来获取这个key的有效时长，直至为-2说明此值以过期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2105" y="3346450"/>
            <a:ext cx="3700145" cy="2667635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SELECT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64008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SELECT</a:t>
                      </a:r>
                      <a:endParaRPr lang="en-US" altLang="zh-CN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SELECT数据库，数据库从0到15（一共16个数据库）</a:t>
                      </a:r>
                    </a:p>
                  </a:txBody>
                  <a:tcPr anchor="ctr"/>
                </a:tc>
              </a:tr>
              <a:tr h="2717800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en-US"/>
                        <a:t>   </a:t>
                      </a:r>
                      <a:r>
                        <a:t>在本例中，选择数据库1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64360" y="3314700"/>
            <a:ext cx="3814445" cy="508635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338455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MOVE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124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MO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MOVE key 数据库，将当前数据中的key转移到其它数据库中</a:t>
                      </a:r>
                    </a:p>
                  </a:txBody>
                  <a:tcPr anchor="ctr"/>
                </a:tc>
              </a:tr>
              <a:tr h="3132455">
                <a:tc gridSpan="2">
                  <a:txBody>
                    <a:bodyPr/>
                    <a:lstStyle/>
                    <a:p>
                      <a:pPr marL="3704590" indent="263525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，我们先显示的选择了数据库0，然后在这个库中设置一个key，接下来我们将这个key从数据库0移到数据库1，之后我们在数据库0中确认了没有age这个key了。但在数据库1中存在这个key，说明转移key成功了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81480" y="3214370"/>
            <a:ext cx="3457575" cy="2981325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01510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PERSIST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124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PERSI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ERSIST key，移除给定key的过期时间</a:t>
                      </a:r>
                    </a:p>
                  </a:txBody>
                  <a:tcPr anchor="ctr"/>
                </a:tc>
              </a:tr>
              <a:tr h="3132455">
                <a:tc gridSpan="2">
                  <a:txBody>
                    <a:bodyPr/>
                    <a:lstStyle/>
                    <a:p>
                      <a:pPr marL="3704590" indent="263525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这个例子中，我们手动的移除age这个key的过期时间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4015" y="3248025"/>
            <a:ext cx="3512820" cy="285496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3" name="矩形 2"/>
          <p:cNvSpPr/>
          <p:nvPr/>
        </p:nvSpPr>
        <p:spPr>
          <a:xfrm>
            <a:off x="7395099" y="2386337"/>
            <a:ext cx="4475480" cy="6451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600" dirty="0">
                <a:solidFill>
                  <a:srgbClr val="000000"/>
                </a:solidFill>
              </a:rPr>
              <a:t>第</a:t>
            </a:r>
            <a:r>
              <a:rPr lang="en-US" altLang="zh-CN" sz="3600" dirty="0">
                <a:solidFill>
                  <a:srgbClr val="000000"/>
                </a:solidFill>
              </a:rPr>
              <a:t>3</a:t>
            </a:r>
            <a:r>
              <a:rPr lang="zh-CN" altLang="en-US" sz="3600" dirty="0">
                <a:solidFill>
                  <a:srgbClr val="000000"/>
                </a:solidFill>
              </a:rPr>
              <a:t>章 </a:t>
            </a:r>
            <a:r>
              <a:rPr lang="en-US" altLang="zh-CN" sz="3600" dirty="0" err="1" smtClean="0">
                <a:solidFill>
                  <a:srgbClr val="000000"/>
                </a:solidFill>
              </a:rPr>
              <a:t>Redis</a:t>
            </a:r>
            <a:r>
              <a:rPr lang="zh-CN" altLang="en-US" sz="3600" dirty="0" err="1" smtClean="0">
                <a:solidFill>
                  <a:srgbClr val="000000"/>
                </a:solidFill>
              </a:rPr>
              <a:t>常用命令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7421733" y="3190471"/>
            <a:ext cx="41253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9210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256599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9418" y="3485143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984375" y="2566035"/>
            <a:ext cx="20116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</a:p>
        </p:txBody>
      </p:sp>
      <p:sp>
        <p:nvSpPr>
          <p:cNvPr id="2" name="矩形 1"/>
          <p:cNvSpPr/>
          <p:nvPr/>
        </p:nvSpPr>
        <p:spPr>
          <a:xfrm>
            <a:off x="1984375" y="3518535"/>
            <a:ext cx="23164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RANDOMKEY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124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RANDOMKE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ANDOMKEY随机返回key空间的一个key</a:t>
                      </a:r>
                    </a:p>
                  </a:txBody>
                  <a:tcPr anchor="ctr"/>
                </a:tc>
              </a:tr>
              <a:tr h="313245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通过本例的结果可以看到取key的规则是随机的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2275" y="3434715"/>
            <a:ext cx="3975100" cy="216852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RENAME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124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RE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NAME existed_key new_key，重命名key</a:t>
                      </a:r>
                    </a:p>
                  </a:txBody>
                  <a:tcPr anchor="ctr"/>
                </a:tc>
              </a:tr>
              <a:tr h="313245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从本例中，我们看到age3这个key，被我们成功改名为age4了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1630" y="3254375"/>
            <a:ext cx="4922520" cy="1872615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TYPE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302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6515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91440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TY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YPE 命令获取指定key关联值的类型，该命令将以字符串的格式返回。返回的字符串为string、list、set、hash和zset，如果key不存在返回none</a:t>
                      </a:r>
                    </a:p>
                  </a:txBody>
                  <a:tcPr anchor="ctr"/>
                </a:tc>
              </a:tr>
              <a:tr h="2823210">
                <a:tc gridSpan="2">
                  <a:txBody>
                    <a:bodyPr/>
                    <a:lstStyle/>
                    <a:p>
                      <a:pPr marL="3513455" indent="323215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从本例中，可以看出TYPE命令可以返回指定key关联值的类型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8620" y="3618865"/>
            <a:ext cx="3270885" cy="2495550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en-US" altLang="zh-CN" sz="2400">
                <a:sym typeface="+mn-ea"/>
              </a:rPr>
              <a:t>RENAME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71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267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1244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RE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NAME existed_key new_key，重命名key</a:t>
                      </a:r>
                    </a:p>
                  </a:txBody>
                  <a:tcPr anchor="ctr"/>
                </a:tc>
              </a:tr>
              <a:tr h="313245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从本例中，我们看到age3这个key，被我们成功改名为age4了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1630" y="3254375"/>
            <a:ext cx="4922520" cy="1872615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40093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5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32385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ING命令使用客户端向 Redis 服务器发送一个 “PING”字符串</a:t>
                      </a:r>
                    </a:p>
                  </a:txBody>
                  <a:tcPr anchor="ctr"/>
                </a:tc>
              </a:tr>
              <a:tr h="23558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CH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CHO命令可以在命令行打印一些内容</a:t>
                      </a:r>
                    </a:p>
                  </a:txBody>
                  <a:tcPr anchor="ctr"/>
                </a:tc>
              </a:tr>
              <a:tr h="30861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QU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QUIT命令可以退出当前Redis连接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BSIZ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BSIZE命令查看当前数据库中key的数目</a:t>
                      </a:r>
                    </a:p>
                  </a:txBody>
                  <a:tcPr anchor="ctr"/>
                </a:tc>
              </a:tr>
              <a:tr h="11811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INF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输入INFO命令查看Redis服务器的各种信息和统计数值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MONI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实时打印出 Redis 服务器接收到的命令，可供调试使用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CONFIG G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使用CONFIG GET 命令获取服务器的配置信息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D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DB命令删除当前选择数据库中的所有key</a:t>
                      </a: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ALL删除数据库中的所有key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zh-CN" altLang="en-US" sz="2400" dirty="0" smtClean="0">
                <a:solidFill>
                  <a:srgbClr val="000000"/>
                </a:solidFill>
                <a:sym typeface="+mn-ea"/>
              </a:rPr>
              <a:t>服务器相关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PING</a:t>
            </a:r>
            <a:endParaRPr lang="en-US" altLang="zh-CN" sz="2400" dirty="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2481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91440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PING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ING命令使用客户端向 Redis 服务器发送一个 “PING”字符串 ，如果服务器运作正常的话，会返回一个 “PONG”字符串 ，用来测试Redis客户端与服务器的连接是否依然生效。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585" y="4028440"/>
            <a:ext cx="4529455" cy="838835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ECHO</a:t>
            </a:r>
            <a:endParaRPr lang="en-US" altLang="zh-CN" sz="2400" dirty="0"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035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ECHO</a:t>
                      </a:r>
                      <a:endParaRPr lang="en-US" altLang="zh-CN" sz="1800">
                        <a:sym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CHO命令可以在命令行打印一些内容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6425" y="3713480"/>
            <a:ext cx="4263390" cy="561340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QUIT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035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QU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QUIT命令可以退出当前Redis连接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3075" y="3604895"/>
            <a:ext cx="3492500" cy="668020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DBSIZE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035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DBSIZ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BSIZE命令查看当前数据库中key的数目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可以看出当前数据库中有2个ke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1950" y="3584575"/>
            <a:ext cx="3703955" cy="1478915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INFO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3328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289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27432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INF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输入INFO命令查看Redis服务器的各种信息和统计数值</a:t>
                      </a:r>
                    </a:p>
                  </a:txBody>
                  <a:tcPr anchor="ctr"/>
                </a:tc>
              </a:tr>
              <a:tr h="3327400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常见回显字段说明：（</a:t>
                      </a:r>
                      <a:r>
                        <a:rPr lang="zh-CN" altLang="en-US">
                          <a:solidFill>
                            <a:srgbClr val="FF0000"/>
                          </a:solidFill>
                        </a:rPr>
                        <a:t>篇幅所限，本页仅对常见主要信息进行说明</a:t>
                      </a:r>
                      <a:r>
                        <a:rPr lang="zh-CN" altLang="en-US"/>
                        <a:t>）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# Server</a:t>
                      </a:r>
                      <a:r>
                        <a:rPr lang="en-US" altLang="zh-CN"/>
                        <a:t>            // Redis 的服务器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zh-CN" altLang="en-US"/>
                        <a:t># Clients</a:t>
                      </a:r>
                      <a:r>
                        <a:rPr lang="en-US" altLang="zh-CN"/>
                        <a:t>           </a:t>
                      </a:r>
                      <a:r>
                        <a:rPr lang="en-US" altLang="zh-CN" sz="1800">
                          <a:sym typeface="+mn-ea"/>
                        </a:rPr>
                        <a:t>// </a:t>
                      </a:r>
                      <a:r>
                        <a:rPr lang="en-US" altLang="zh-CN"/>
                        <a:t>已连接客户端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zh-CN" altLang="en-US"/>
                        <a:t># Memory</a:t>
                      </a:r>
                      <a:r>
                        <a:rPr lang="en-US" altLang="zh-CN"/>
                        <a:t>         </a:t>
                      </a:r>
                      <a:r>
                        <a:rPr lang="en-US" altLang="zh-CN" sz="1800">
                          <a:sym typeface="+mn-ea"/>
                        </a:rPr>
                        <a:t>//</a:t>
                      </a:r>
                      <a:r>
                        <a:rPr lang="zh-CN" altLang="en-US"/>
                        <a:t> 内存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zh-CN" altLang="en-US"/>
                        <a:t># Persistence</a:t>
                      </a:r>
                      <a:r>
                        <a:rPr lang="en-US" altLang="zh-CN"/>
                        <a:t>   </a:t>
                      </a:r>
                      <a:r>
                        <a:rPr lang="en-US" altLang="zh-CN" sz="1800">
                          <a:sym typeface="+mn-ea"/>
                        </a:rPr>
                        <a:t>// 持久化的相关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# Stats              // 一般统计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# Replication     // 主/从复制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# CPU               // CPU 计算量的统计信息</a:t>
                      </a:r>
                    </a:p>
                    <a:p>
                      <a:pPr marL="3704590" indent="-3704590" algn="l">
                        <a:lnSpc>
                          <a:spcPct val="110000"/>
                        </a:lnSpc>
                        <a:buNone/>
                      </a:pPr>
                      <a:r>
                        <a:rPr lang="en-US" altLang="zh-CN" sz="1800">
                          <a:sym typeface="+mn-ea"/>
                        </a:rPr>
                        <a:t># Cluster           // Redis 集群信息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7245" y="3190240"/>
            <a:ext cx="2940685" cy="33147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265680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1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04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KEY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返回满足给定pattern的所有keys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SC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dis Scan 命令用于迭代数据库中的数据库键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IS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ISTS key 查看一个键是否存在，如果键存在则返回1， 否则返回0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DEL key [key ...] 删除键, 返回值为删除键的个数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PI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EXPIRE key seconds ,该命令为设置key的过期时间，单位为秒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T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TL key ，获取该键的过期时间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MONITOR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855470"/>
          <a:ext cx="9226550" cy="44157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60198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37147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MONI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实时打印出 Redis 服务器接收到的命令，可供调试使用</a:t>
                      </a:r>
                    </a:p>
                  </a:txBody>
                  <a:tcPr anchor="ctr"/>
                </a:tc>
              </a:tr>
              <a:tr h="344233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首先使用redis-cli命令打开第一个客户端，输入以下命令。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使用redis-cli命令打开第二个客户端，使用以下命令存储数据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0" indent="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再查看第一个客户端，会看到如下信息，从结果看此Redis服务器目前接收了命令 set 和get命令。</a:t>
                      </a:r>
                    </a:p>
                    <a:p>
                      <a:pPr marL="0" indent="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9565" y="3282950"/>
            <a:ext cx="2391410" cy="42862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9565" y="4127500"/>
            <a:ext cx="2819400" cy="8382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60955" y="5381625"/>
            <a:ext cx="5019675" cy="838200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CONFIG GET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035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CONFIG G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使用CONFIG GET 命令获取服务器的配置信息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0" indent="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我们使用config get命令获取了dir这个参数配置的值。如果想获取全部参数配置的值，可以执行”config get *”,就可以将全部的值都显示出来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1475" y="3563620"/>
            <a:ext cx="3505200" cy="757555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FLUSHDB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837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5562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0355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FLUSHD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DB命令删除当前选择数据库中的所有key</a:t>
                      </a:r>
                    </a:p>
                  </a:txBody>
                  <a:tcPr anchor="ctr"/>
                </a:tc>
              </a:tr>
              <a:tr h="2778125">
                <a:tc gridSpan="2">
                  <a:txBody>
                    <a:bodyPr/>
                    <a:lstStyle/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endParaRPr lang="zh-CN" altLang="en-US"/>
                    </a:p>
                    <a:p>
                      <a:pPr marL="3704590" indent="-3704590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，我们将数据库0中的key都删除了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2270" y="3622675"/>
            <a:ext cx="2342515" cy="1504950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457263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服务器相关</a:t>
            </a: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 dirty="0">
                <a:sym typeface="+mn-ea"/>
              </a:rPr>
              <a:t>FLUSHALL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4074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8991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3467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FLUSH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FLUSHALL删除数据库中的所有key</a:t>
                      </a:r>
                    </a:p>
                  </a:txBody>
                  <a:tcPr anchor="ctr"/>
                </a:tc>
              </a:tr>
              <a:tr h="2950210">
                <a:tc gridSpan="2">
                  <a:txBody>
                    <a:bodyPr/>
                    <a:lstStyle/>
                    <a:p>
                      <a:pPr marL="3117215" indent="278765"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在本例中我们使用FLUSHALL 命令清空了所有数据库的key，查看数据库0中的key发现都没清空了，然后切换到数据库1，发现数据库1中的key也被清空了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7345" y="3337560"/>
            <a:ext cx="2926080" cy="2561590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483735" y="2518410"/>
            <a:ext cx="2842895" cy="1308100"/>
          </a:xfrm>
        </p:spPr>
        <p:txBody>
          <a:bodyPr>
            <a:normAutofit/>
          </a:bodyPr>
          <a:lstStyle/>
          <a:p>
            <a:r>
              <a:rPr lang="zh-CN" altLang="en-US" sz="6600" dirty="0"/>
              <a:t>谢谢！</a:t>
            </a:r>
            <a:endParaRPr lang="zh-CN" altLang="en-US" sz="4000" dirty="0"/>
          </a:p>
        </p:txBody>
      </p:sp>
      <p:sp>
        <p:nvSpPr>
          <p:cNvPr id="8" name="任意多边形: 形状 7"/>
          <p:cNvSpPr/>
          <p:nvPr/>
        </p:nvSpPr>
        <p:spPr>
          <a:xfrm>
            <a:off x="669925" y="2344255"/>
            <a:ext cx="552196" cy="3896208"/>
          </a:xfrm>
          <a:custGeom>
            <a:avLst/>
            <a:gdLst>
              <a:gd name="connsiteX0" fmla="*/ 438280 w 513703"/>
              <a:gd name="connsiteY0" fmla="*/ 3473760 h 3624606"/>
              <a:gd name="connsiteX1" fmla="*/ 513703 w 513703"/>
              <a:gd name="connsiteY1" fmla="*/ 3549183 h 3624606"/>
              <a:gd name="connsiteX2" fmla="*/ 438280 w 513703"/>
              <a:gd name="connsiteY2" fmla="*/ 3624606 h 3624606"/>
              <a:gd name="connsiteX3" fmla="*/ 362857 w 513703"/>
              <a:gd name="connsiteY3" fmla="*/ 3549183 h 3624606"/>
              <a:gd name="connsiteX4" fmla="*/ 438280 w 513703"/>
              <a:gd name="connsiteY4" fmla="*/ 3473760 h 3624606"/>
              <a:gd name="connsiteX5" fmla="*/ 75423 w 513703"/>
              <a:gd name="connsiteY5" fmla="*/ 3473760 h 3624606"/>
              <a:gd name="connsiteX6" fmla="*/ 150846 w 513703"/>
              <a:gd name="connsiteY6" fmla="*/ 3549183 h 3624606"/>
              <a:gd name="connsiteX7" fmla="*/ 75423 w 513703"/>
              <a:gd name="connsiteY7" fmla="*/ 3624606 h 3624606"/>
              <a:gd name="connsiteX8" fmla="*/ 0 w 513703"/>
              <a:gd name="connsiteY8" fmla="*/ 3549183 h 3624606"/>
              <a:gd name="connsiteX9" fmla="*/ 75423 w 513703"/>
              <a:gd name="connsiteY9" fmla="*/ 3473760 h 3624606"/>
              <a:gd name="connsiteX10" fmla="*/ 438280 w 513703"/>
              <a:gd name="connsiteY10" fmla="*/ 3126882 h 3624606"/>
              <a:gd name="connsiteX11" fmla="*/ 513703 w 513703"/>
              <a:gd name="connsiteY11" fmla="*/ 3202305 h 3624606"/>
              <a:gd name="connsiteX12" fmla="*/ 438280 w 513703"/>
              <a:gd name="connsiteY12" fmla="*/ 3277728 h 3624606"/>
              <a:gd name="connsiteX13" fmla="*/ 362857 w 513703"/>
              <a:gd name="connsiteY13" fmla="*/ 3202305 h 3624606"/>
              <a:gd name="connsiteX14" fmla="*/ 438280 w 513703"/>
              <a:gd name="connsiteY14" fmla="*/ 3126882 h 3624606"/>
              <a:gd name="connsiteX15" fmla="*/ 75423 w 513703"/>
              <a:gd name="connsiteY15" fmla="*/ 3126882 h 3624606"/>
              <a:gd name="connsiteX16" fmla="*/ 150846 w 513703"/>
              <a:gd name="connsiteY16" fmla="*/ 3202305 h 3624606"/>
              <a:gd name="connsiteX17" fmla="*/ 75423 w 513703"/>
              <a:gd name="connsiteY17" fmla="*/ 3277728 h 3624606"/>
              <a:gd name="connsiteX18" fmla="*/ 0 w 513703"/>
              <a:gd name="connsiteY18" fmla="*/ 3202305 h 3624606"/>
              <a:gd name="connsiteX19" fmla="*/ 75423 w 513703"/>
              <a:gd name="connsiteY19" fmla="*/ 3126882 h 3624606"/>
              <a:gd name="connsiteX20" fmla="*/ 438280 w 513703"/>
              <a:gd name="connsiteY20" fmla="*/ 2780004 h 3624606"/>
              <a:gd name="connsiteX21" fmla="*/ 513703 w 513703"/>
              <a:gd name="connsiteY21" fmla="*/ 2855427 h 3624606"/>
              <a:gd name="connsiteX22" fmla="*/ 438280 w 513703"/>
              <a:gd name="connsiteY22" fmla="*/ 2930850 h 3624606"/>
              <a:gd name="connsiteX23" fmla="*/ 362857 w 513703"/>
              <a:gd name="connsiteY23" fmla="*/ 2855427 h 3624606"/>
              <a:gd name="connsiteX24" fmla="*/ 438280 w 513703"/>
              <a:gd name="connsiteY24" fmla="*/ 2780004 h 3624606"/>
              <a:gd name="connsiteX25" fmla="*/ 75423 w 513703"/>
              <a:gd name="connsiteY25" fmla="*/ 2780004 h 3624606"/>
              <a:gd name="connsiteX26" fmla="*/ 150846 w 513703"/>
              <a:gd name="connsiteY26" fmla="*/ 2855427 h 3624606"/>
              <a:gd name="connsiteX27" fmla="*/ 75423 w 513703"/>
              <a:gd name="connsiteY27" fmla="*/ 2930850 h 3624606"/>
              <a:gd name="connsiteX28" fmla="*/ 0 w 513703"/>
              <a:gd name="connsiteY28" fmla="*/ 2855427 h 3624606"/>
              <a:gd name="connsiteX29" fmla="*/ 75423 w 513703"/>
              <a:gd name="connsiteY29" fmla="*/ 2780004 h 3624606"/>
              <a:gd name="connsiteX30" fmla="*/ 438280 w 513703"/>
              <a:gd name="connsiteY30" fmla="*/ 2433126 h 3624606"/>
              <a:gd name="connsiteX31" fmla="*/ 513703 w 513703"/>
              <a:gd name="connsiteY31" fmla="*/ 2508549 h 3624606"/>
              <a:gd name="connsiteX32" fmla="*/ 438280 w 513703"/>
              <a:gd name="connsiteY32" fmla="*/ 2583972 h 3624606"/>
              <a:gd name="connsiteX33" fmla="*/ 362857 w 513703"/>
              <a:gd name="connsiteY33" fmla="*/ 2508549 h 3624606"/>
              <a:gd name="connsiteX34" fmla="*/ 438280 w 513703"/>
              <a:gd name="connsiteY34" fmla="*/ 2433126 h 3624606"/>
              <a:gd name="connsiteX35" fmla="*/ 75423 w 513703"/>
              <a:gd name="connsiteY35" fmla="*/ 2433126 h 3624606"/>
              <a:gd name="connsiteX36" fmla="*/ 150846 w 513703"/>
              <a:gd name="connsiteY36" fmla="*/ 2508549 h 3624606"/>
              <a:gd name="connsiteX37" fmla="*/ 75423 w 513703"/>
              <a:gd name="connsiteY37" fmla="*/ 2583972 h 3624606"/>
              <a:gd name="connsiteX38" fmla="*/ 0 w 513703"/>
              <a:gd name="connsiteY38" fmla="*/ 2508549 h 3624606"/>
              <a:gd name="connsiteX39" fmla="*/ 75423 w 513703"/>
              <a:gd name="connsiteY39" fmla="*/ 2433126 h 3624606"/>
              <a:gd name="connsiteX40" fmla="*/ 438280 w 513703"/>
              <a:gd name="connsiteY40" fmla="*/ 2086248 h 3624606"/>
              <a:gd name="connsiteX41" fmla="*/ 513703 w 513703"/>
              <a:gd name="connsiteY41" fmla="*/ 2161671 h 3624606"/>
              <a:gd name="connsiteX42" fmla="*/ 438280 w 513703"/>
              <a:gd name="connsiteY42" fmla="*/ 2237094 h 3624606"/>
              <a:gd name="connsiteX43" fmla="*/ 362857 w 513703"/>
              <a:gd name="connsiteY43" fmla="*/ 2161671 h 3624606"/>
              <a:gd name="connsiteX44" fmla="*/ 438280 w 513703"/>
              <a:gd name="connsiteY44" fmla="*/ 2086248 h 3624606"/>
              <a:gd name="connsiteX45" fmla="*/ 75423 w 513703"/>
              <a:gd name="connsiteY45" fmla="*/ 2086248 h 3624606"/>
              <a:gd name="connsiteX46" fmla="*/ 150846 w 513703"/>
              <a:gd name="connsiteY46" fmla="*/ 2161671 h 3624606"/>
              <a:gd name="connsiteX47" fmla="*/ 75423 w 513703"/>
              <a:gd name="connsiteY47" fmla="*/ 2237094 h 3624606"/>
              <a:gd name="connsiteX48" fmla="*/ 0 w 513703"/>
              <a:gd name="connsiteY48" fmla="*/ 2161671 h 3624606"/>
              <a:gd name="connsiteX49" fmla="*/ 75423 w 513703"/>
              <a:gd name="connsiteY49" fmla="*/ 2086248 h 3624606"/>
              <a:gd name="connsiteX50" fmla="*/ 438280 w 513703"/>
              <a:gd name="connsiteY50" fmla="*/ 1734390 h 3624606"/>
              <a:gd name="connsiteX51" fmla="*/ 513703 w 513703"/>
              <a:gd name="connsiteY51" fmla="*/ 1809813 h 3624606"/>
              <a:gd name="connsiteX52" fmla="*/ 513200 w 513703"/>
              <a:gd name="connsiteY52" fmla="*/ 1812303 h 3624606"/>
              <a:gd name="connsiteX53" fmla="*/ 513703 w 513703"/>
              <a:gd name="connsiteY53" fmla="*/ 1814793 h 3624606"/>
              <a:gd name="connsiteX54" fmla="*/ 438280 w 513703"/>
              <a:gd name="connsiteY54" fmla="*/ 1890216 h 3624606"/>
              <a:gd name="connsiteX55" fmla="*/ 362857 w 513703"/>
              <a:gd name="connsiteY55" fmla="*/ 1814793 h 3624606"/>
              <a:gd name="connsiteX56" fmla="*/ 363360 w 513703"/>
              <a:gd name="connsiteY56" fmla="*/ 1812303 h 3624606"/>
              <a:gd name="connsiteX57" fmla="*/ 362857 w 513703"/>
              <a:gd name="connsiteY57" fmla="*/ 1809813 h 3624606"/>
              <a:gd name="connsiteX58" fmla="*/ 438280 w 513703"/>
              <a:gd name="connsiteY58" fmla="*/ 1734390 h 3624606"/>
              <a:gd name="connsiteX59" fmla="*/ 75423 w 513703"/>
              <a:gd name="connsiteY59" fmla="*/ 1734390 h 3624606"/>
              <a:gd name="connsiteX60" fmla="*/ 150846 w 513703"/>
              <a:gd name="connsiteY60" fmla="*/ 1809813 h 3624606"/>
              <a:gd name="connsiteX61" fmla="*/ 150343 w 513703"/>
              <a:gd name="connsiteY61" fmla="*/ 1812303 h 3624606"/>
              <a:gd name="connsiteX62" fmla="*/ 150846 w 513703"/>
              <a:gd name="connsiteY62" fmla="*/ 1814793 h 3624606"/>
              <a:gd name="connsiteX63" fmla="*/ 75423 w 513703"/>
              <a:gd name="connsiteY63" fmla="*/ 1890216 h 3624606"/>
              <a:gd name="connsiteX64" fmla="*/ 0 w 513703"/>
              <a:gd name="connsiteY64" fmla="*/ 1814793 h 3624606"/>
              <a:gd name="connsiteX65" fmla="*/ 503 w 513703"/>
              <a:gd name="connsiteY65" fmla="*/ 1812303 h 3624606"/>
              <a:gd name="connsiteX66" fmla="*/ 0 w 513703"/>
              <a:gd name="connsiteY66" fmla="*/ 1809813 h 3624606"/>
              <a:gd name="connsiteX67" fmla="*/ 75423 w 513703"/>
              <a:gd name="connsiteY67" fmla="*/ 1734390 h 3624606"/>
              <a:gd name="connsiteX68" fmla="*/ 438280 w 513703"/>
              <a:gd name="connsiteY68" fmla="*/ 1387512 h 3624606"/>
              <a:gd name="connsiteX69" fmla="*/ 513703 w 513703"/>
              <a:gd name="connsiteY69" fmla="*/ 1462935 h 3624606"/>
              <a:gd name="connsiteX70" fmla="*/ 438280 w 513703"/>
              <a:gd name="connsiteY70" fmla="*/ 1538358 h 3624606"/>
              <a:gd name="connsiteX71" fmla="*/ 362857 w 513703"/>
              <a:gd name="connsiteY71" fmla="*/ 1462935 h 3624606"/>
              <a:gd name="connsiteX72" fmla="*/ 438280 w 513703"/>
              <a:gd name="connsiteY72" fmla="*/ 1387512 h 3624606"/>
              <a:gd name="connsiteX73" fmla="*/ 75423 w 513703"/>
              <a:gd name="connsiteY73" fmla="*/ 1387512 h 3624606"/>
              <a:gd name="connsiteX74" fmla="*/ 150846 w 513703"/>
              <a:gd name="connsiteY74" fmla="*/ 1462935 h 3624606"/>
              <a:gd name="connsiteX75" fmla="*/ 75423 w 513703"/>
              <a:gd name="connsiteY75" fmla="*/ 1538358 h 3624606"/>
              <a:gd name="connsiteX76" fmla="*/ 0 w 513703"/>
              <a:gd name="connsiteY76" fmla="*/ 1462935 h 3624606"/>
              <a:gd name="connsiteX77" fmla="*/ 75423 w 513703"/>
              <a:gd name="connsiteY77" fmla="*/ 1387512 h 3624606"/>
              <a:gd name="connsiteX78" fmla="*/ 75423 w 513703"/>
              <a:gd name="connsiteY78" fmla="*/ 1040634 h 3624606"/>
              <a:gd name="connsiteX79" fmla="*/ 150846 w 513703"/>
              <a:gd name="connsiteY79" fmla="*/ 1116057 h 3624606"/>
              <a:gd name="connsiteX80" fmla="*/ 75423 w 513703"/>
              <a:gd name="connsiteY80" fmla="*/ 1191480 h 3624606"/>
              <a:gd name="connsiteX81" fmla="*/ 0 w 513703"/>
              <a:gd name="connsiteY81" fmla="*/ 1116057 h 3624606"/>
              <a:gd name="connsiteX82" fmla="*/ 75423 w 513703"/>
              <a:gd name="connsiteY82" fmla="*/ 1040634 h 3624606"/>
              <a:gd name="connsiteX83" fmla="*/ 438280 w 513703"/>
              <a:gd name="connsiteY83" fmla="*/ 1040634 h 3624606"/>
              <a:gd name="connsiteX84" fmla="*/ 513703 w 513703"/>
              <a:gd name="connsiteY84" fmla="*/ 1116057 h 3624606"/>
              <a:gd name="connsiteX85" fmla="*/ 438280 w 513703"/>
              <a:gd name="connsiteY85" fmla="*/ 1191480 h 3624606"/>
              <a:gd name="connsiteX86" fmla="*/ 362857 w 513703"/>
              <a:gd name="connsiteY86" fmla="*/ 1116057 h 3624606"/>
              <a:gd name="connsiteX87" fmla="*/ 438280 w 513703"/>
              <a:gd name="connsiteY87" fmla="*/ 1040634 h 3624606"/>
              <a:gd name="connsiteX88" fmla="*/ 438280 w 513703"/>
              <a:gd name="connsiteY88" fmla="*/ 693756 h 3624606"/>
              <a:gd name="connsiteX89" fmla="*/ 513703 w 513703"/>
              <a:gd name="connsiteY89" fmla="*/ 769179 h 3624606"/>
              <a:gd name="connsiteX90" fmla="*/ 438280 w 513703"/>
              <a:gd name="connsiteY90" fmla="*/ 844602 h 3624606"/>
              <a:gd name="connsiteX91" fmla="*/ 362857 w 513703"/>
              <a:gd name="connsiteY91" fmla="*/ 769179 h 3624606"/>
              <a:gd name="connsiteX92" fmla="*/ 438280 w 513703"/>
              <a:gd name="connsiteY92" fmla="*/ 693756 h 3624606"/>
              <a:gd name="connsiteX93" fmla="*/ 75423 w 513703"/>
              <a:gd name="connsiteY93" fmla="*/ 693756 h 3624606"/>
              <a:gd name="connsiteX94" fmla="*/ 150846 w 513703"/>
              <a:gd name="connsiteY94" fmla="*/ 769179 h 3624606"/>
              <a:gd name="connsiteX95" fmla="*/ 75423 w 513703"/>
              <a:gd name="connsiteY95" fmla="*/ 844602 h 3624606"/>
              <a:gd name="connsiteX96" fmla="*/ 0 w 513703"/>
              <a:gd name="connsiteY96" fmla="*/ 769179 h 3624606"/>
              <a:gd name="connsiteX97" fmla="*/ 75423 w 513703"/>
              <a:gd name="connsiteY97" fmla="*/ 693756 h 3624606"/>
              <a:gd name="connsiteX98" fmla="*/ 75423 w 513703"/>
              <a:gd name="connsiteY98" fmla="*/ 346879 h 3624606"/>
              <a:gd name="connsiteX99" fmla="*/ 150846 w 513703"/>
              <a:gd name="connsiteY99" fmla="*/ 422302 h 3624606"/>
              <a:gd name="connsiteX100" fmla="*/ 75423 w 513703"/>
              <a:gd name="connsiteY100" fmla="*/ 497724 h 3624606"/>
              <a:gd name="connsiteX101" fmla="*/ 0 w 513703"/>
              <a:gd name="connsiteY101" fmla="*/ 422302 h 3624606"/>
              <a:gd name="connsiteX102" fmla="*/ 75423 w 513703"/>
              <a:gd name="connsiteY102" fmla="*/ 346879 h 3624606"/>
              <a:gd name="connsiteX103" fmla="*/ 438280 w 513703"/>
              <a:gd name="connsiteY103" fmla="*/ 346878 h 3624606"/>
              <a:gd name="connsiteX104" fmla="*/ 513703 w 513703"/>
              <a:gd name="connsiteY104" fmla="*/ 422301 h 3624606"/>
              <a:gd name="connsiteX105" fmla="*/ 438280 w 513703"/>
              <a:gd name="connsiteY105" fmla="*/ 497724 h 3624606"/>
              <a:gd name="connsiteX106" fmla="*/ 362857 w 513703"/>
              <a:gd name="connsiteY106" fmla="*/ 422301 h 3624606"/>
              <a:gd name="connsiteX107" fmla="*/ 438280 w 513703"/>
              <a:gd name="connsiteY107" fmla="*/ 346878 h 3624606"/>
              <a:gd name="connsiteX108" fmla="*/ 75423 w 513703"/>
              <a:gd name="connsiteY108" fmla="*/ 1 h 3624606"/>
              <a:gd name="connsiteX109" fmla="*/ 150846 w 513703"/>
              <a:gd name="connsiteY109" fmla="*/ 75424 h 3624606"/>
              <a:gd name="connsiteX110" fmla="*/ 75423 w 513703"/>
              <a:gd name="connsiteY110" fmla="*/ 150847 h 3624606"/>
              <a:gd name="connsiteX111" fmla="*/ 0 w 513703"/>
              <a:gd name="connsiteY111" fmla="*/ 75424 h 3624606"/>
              <a:gd name="connsiteX112" fmla="*/ 75423 w 513703"/>
              <a:gd name="connsiteY112" fmla="*/ 1 h 3624606"/>
              <a:gd name="connsiteX113" fmla="*/ 438280 w 513703"/>
              <a:gd name="connsiteY113" fmla="*/ 0 h 3624606"/>
              <a:gd name="connsiteX114" fmla="*/ 513703 w 513703"/>
              <a:gd name="connsiteY114" fmla="*/ 75424 h 3624606"/>
              <a:gd name="connsiteX115" fmla="*/ 438280 w 513703"/>
              <a:gd name="connsiteY115" fmla="*/ 150847 h 3624606"/>
              <a:gd name="connsiteX116" fmla="*/ 362857 w 513703"/>
              <a:gd name="connsiteY116" fmla="*/ 75424 h 3624606"/>
              <a:gd name="connsiteX117" fmla="*/ 438280 w 513703"/>
              <a:gd name="connsiteY117" fmla="*/ 0 h 362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513703" h="3624606">
                <a:moveTo>
                  <a:pt x="438280" y="3473760"/>
                </a:moveTo>
                <a:cubicBezTo>
                  <a:pt x="479935" y="3473760"/>
                  <a:pt x="513703" y="3507528"/>
                  <a:pt x="513703" y="3549183"/>
                </a:cubicBezTo>
                <a:cubicBezTo>
                  <a:pt x="513703" y="3590838"/>
                  <a:pt x="479935" y="3624606"/>
                  <a:pt x="438280" y="3624606"/>
                </a:cubicBezTo>
                <a:cubicBezTo>
                  <a:pt x="396625" y="3624606"/>
                  <a:pt x="362857" y="3590838"/>
                  <a:pt x="362857" y="3549183"/>
                </a:cubicBezTo>
                <a:cubicBezTo>
                  <a:pt x="362857" y="3507528"/>
                  <a:pt x="396625" y="3473760"/>
                  <a:pt x="438280" y="3473760"/>
                </a:cubicBezTo>
                <a:close/>
                <a:moveTo>
                  <a:pt x="75423" y="3473760"/>
                </a:moveTo>
                <a:cubicBezTo>
                  <a:pt x="117078" y="3473760"/>
                  <a:pt x="150846" y="3507528"/>
                  <a:pt x="150846" y="3549183"/>
                </a:cubicBezTo>
                <a:cubicBezTo>
                  <a:pt x="150846" y="3590838"/>
                  <a:pt x="117078" y="3624606"/>
                  <a:pt x="75423" y="3624606"/>
                </a:cubicBezTo>
                <a:cubicBezTo>
                  <a:pt x="33768" y="3624606"/>
                  <a:pt x="0" y="3590838"/>
                  <a:pt x="0" y="3549183"/>
                </a:cubicBezTo>
                <a:cubicBezTo>
                  <a:pt x="0" y="3507528"/>
                  <a:pt x="33768" y="3473760"/>
                  <a:pt x="75423" y="3473760"/>
                </a:cubicBezTo>
                <a:close/>
                <a:moveTo>
                  <a:pt x="438280" y="3126882"/>
                </a:moveTo>
                <a:cubicBezTo>
                  <a:pt x="479935" y="3126882"/>
                  <a:pt x="513703" y="3160650"/>
                  <a:pt x="513703" y="3202305"/>
                </a:cubicBezTo>
                <a:cubicBezTo>
                  <a:pt x="513703" y="3243960"/>
                  <a:pt x="479935" y="3277728"/>
                  <a:pt x="438280" y="3277728"/>
                </a:cubicBezTo>
                <a:cubicBezTo>
                  <a:pt x="396625" y="3277728"/>
                  <a:pt x="362857" y="3243960"/>
                  <a:pt x="362857" y="3202305"/>
                </a:cubicBezTo>
                <a:cubicBezTo>
                  <a:pt x="362857" y="3160650"/>
                  <a:pt x="396625" y="3126882"/>
                  <a:pt x="438280" y="3126882"/>
                </a:cubicBezTo>
                <a:close/>
                <a:moveTo>
                  <a:pt x="75423" y="3126882"/>
                </a:moveTo>
                <a:cubicBezTo>
                  <a:pt x="117078" y="3126882"/>
                  <a:pt x="150846" y="3160650"/>
                  <a:pt x="150846" y="3202305"/>
                </a:cubicBezTo>
                <a:cubicBezTo>
                  <a:pt x="150846" y="3243960"/>
                  <a:pt x="117078" y="3277728"/>
                  <a:pt x="75423" y="3277728"/>
                </a:cubicBezTo>
                <a:cubicBezTo>
                  <a:pt x="33768" y="3277728"/>
                  <a:pt x="0" y="3243960"/>
                  <a:pt x="0" y="3202305"/>
                </a:cubicBezTo>
                <a:cubicBezTo>
                  <a:pt x="0" y="3160650"/>
                  <a:pt x="33768" y="3126882"/>
                  <a:pt x="75423" y="3126882"/>
                </a:cubicBezTo>
                <a:close/>
                <a:moveTo>
                  <a:pt x="438280" y="2780004"/>
                </a:moveTo>
                <a:cubicBezTo>
                  <a:pt x="479935" y="2780004"/>
                  <a:pt x="513703" y="2813772"/>
                  <a:pt x="513703" y="2855427"/>
                </a:cubicBezTo>
                <a:cubicBezTo>
                  <a:pt x="513703" y="2897082"/>
                  <a:pt x="479935" y="2930850"/>
                  <a:pt x="438280" y="2930850"/>
                </a:cubicBezTo>
                <a:cubicBezTo>
                  <a:pt x="396625" y="2930850"/>
                  <a:pt x="362857" y="2897082"/>
                  <a:pt x="362857" y="2855427"/>
                </a:cubicBezTo>
                <a:cubicBezTo>
                  <a:pt x="362857" y="2813772"/>
                  <a:pt x="396625" y="2780004"/>
                  <a:pt x="438280" y="2780004"/>
                </a:cubicBezTo>
                <a:close/>
                <a:moveTo>
                  <a:pt x="75423" y="2780004"/>
                </a:moveTo>
                <a:cubicBezTo>
                  <a:pt x="117078" y="2780004"/>
                  <a:pt x="150846" y="2813772"/>
                  <a:pt x="150846" y="2855427"/>
                </a:cubicBezTo>
                <a:cubicBezTo>
                  <a:pt x="150846" y="2897082"/>
                  <a:pt x="117078" y="2930850"/>
                  <a:pt x="75423" y="2930850"/>
                </a:cubicBezTo>
                <a:cubicBezTo>
                  <a:pt x="33768" y="2930850"/>
                  <a:pt x="0" y="2897082"/>
                  <a:pt x="0" y="2855427"/>
                </a:cubicBezTo>
                <a:cubicBezTo>
                  <a:pt x="0" y="2813772"/>
                  <a:pt x="33768" y="2780004"/>
                  <a:pt x="75423" y="2780004"/>
                </a:cubicBezTo>
                <a:close/>
                <a:moveTo>
                  <a:pt x="438280" y="2433126"/>
                </a:moveTo>
                <a:cubicBezTo>
                  <a:pt x="479935" y="2433126"/>
                  <a:pt x="513703" y="2466894"/>
                  <a:pt x="513703" y="2508549"/>
                </a:cubicBezTo>
                <a:cubicBezTo>
                  <a:pt x="513703" y="2550204"/>
                  <a:pt x="479935" y="2583972"/>
                  <a:pt x="438280" y="2583972"/>
                </a:cubicBezTo>
                <a:cubicBezTo>
                  <a:pt x="396625" y="2583972"/>
                  <a:pt x="362857" y="2550204"/>
                  <a:pt x="362857" y="2508549"/>
                </a:cubicBezTo>
                <a:cubicBezTo>
                  <a:pt x="362857" y="2466894"/>
                  <a:pt x="396625" y="2433126"/>
                  <a:pt x="438280" y="2433126"/>
                </a:cubicBezTo>
                <a:close/>
                <a:moveTo>
                  <a:pt x="75423" y="2433126"/>
                </a:moveTo>
                <a:cubicBezTo>
                  <a:pt x="117078" y="2433126"/>
                  <a:pt x="150846" y="2466894"/>
                  <a:pt x="150846" y="2508549"/>
                </a:cubicBezTo>
                <a:cubicBezTo>
                  <a:pt x="150846" y="2550204"/>
                  <a:pt x="117078" y="2583972"/>
                  <a:pt x="75423" y="2583972"/>
                </a:cubicBezTo>
                <a:cubicBezTo>
                  <a:pt x="33768" y="2583972"/>
                  <a:pt x="0" y="2550204"/>
                  <a:pt x="0" y="2508549"/>
                </a:cubicBezTo>
                <a:cubicBezTo>
                  <a:pt x="0" y="2466894"/>
                  <a:pt x="33768" y="2433126"/>
                  <a:pt x="75423" y="2433126"/>
                </a:cubicBezTo>
                <a:close/>
                <a:moveTo>
                  <a:pt x="438280" y="2086248"/>
                </a:moveTo>
                <a:cubicBezTo>
                  <a:pt x="479935" y="2086248"/>
                  <a:pt x="513703" y="2120016"/>
                  <a:pt x="513703" y="2161671"/>
                </a:cubicBezTo>
                <a:cubicBezTo>
                  <a:pt x="513703" y="2203326"/>
                  <a:pt x="479935" y="2237094"/>
                  <a:pt x="438280" y="2237094"/>
                </a:cubicBezTo>
                <a:cubicBezTo>
                  <a:pt x="396625" y="2237094"/>
                  <a:pt x="362857" y="2203326"/>
                  <a:pt x="362857" y="2161671"/>
                </a:cubicBezTo>
                <a:cubicBezTo>
                  <a:pt x="362857" y="2120016"/>
                  <a:pt x="396625" y="2086248"/>
                  <a:pt x="438280" y="2086248"/>
                </a:cubicBezTo>
                <a:close/>
                <a:moveTo>
                  <a:pt x="75423" y="2086248"/>
                </a:moveTo>
                <a:cubicBezTo>
                  <a:pt x="117078" y="2086248"/>
                  <a:pt x="150846" y="2120016"/>
                  <a:pt x="150846" y="2161671"/>
                </a:cubicBezTo>
                <a:cubicBezTo>
                  <a:pt x="150846" y="2203326"/>
                  <a:pt x="117078" y="2237094"/>
                  <a:pt x="75423" y="2237094"/>
                </a:cubicBezTo>
                <a:cubicBezTo>
                  <a:pt x="33768" y="2237094"/>
                  <a:pt x="0" y="2203326"/>
                  <a:pt x="0" y="2161671"/>
                </a:cubicBezTo>
                <a:cubicBezTo>
                  <a:pt x="0" y="2120016"/>
                  <a:pt x="33768" y="2086248"/>
                  <a:pt x="75423" y="2086248"/>
                </a:cubicBezTo>
                <a:close/>
                <a:moveTo>
                  <a:pt x="438280" y="1734390"/>
                </a:moveTo>
                <a:cubicBezTo>
                  <a:pt x="479935" y="1734390"/>
                  <a:pt x="513703" y="1768158"/>
                  <a:pt x="513703" y="1809813"/>
                </a:cubicBezTo>
                <a:lnTo>
                  <a:pt x="513200" y="1812303"/>
                </a:lnTo>
                <a:lnTo>
                  <a:pt x="513703" y="1814793"/>
                </a:lnTo>
                <a:cubicBezTo>
                  <a:pt x="513703" y="1856448"/>
                  <a:pt x="479935" y="1890216"/>
                  <a:pt x="438280" y="1890216"/>
                </a:cubicBezTo>
                <a:cubicBezTo>
                  <a:pt x="396625" y="1890216"/>
                  <a:pt x="362857" y="1856448"/>
                  <a:pt x="362857" y="1814793"/>
                </a:cubicBezTo>
                <a:lnTo>
                  <a:pt x="363360" y="1812303"/>
                </a:lnTo>
                <a:lnTo>
                  <a:pt x="362857" y="1809813"/>
                </a:lnTo>
                <a:cubicBezTo>
                  <a:pt x="362857" y="1768158"/>
                  <a:pt x="396625" y="1734390"/>
                  <a:pt x="438280" y="1734390"/>
                </a:cubicBezTo>
                <a:close/>
                <a:moveTo>
                  <a:pt x="75423" y="1734390"/>
                </a:moveTo>
                <a:cubicBezTo>
                  <a:pt x="117078" y="1734390"/>
                  <a:pt x="150846" y="1768158"/>
                  <a:pt x="150846" y="1809813"/>
                </a:cubicBezTo>
                <a:lnTo>
                  <a:pt x="150343" y="1812303"/>
                </a:lnTo>
                <a:lnTo>
                  <a:pt x="150846" y="1814793"/>
                </a:lnTo>
                <a:cubicBezTo>
                  <a:pt x="150846" y="1856448"/>
                  <a:pt x="117078" y="1890216"/>
                  <a:pt x="75423" y="1890216"/>
                </a:cubicBezTo>
                <a:cubicBezTo>
                  <a:pt x="33768" y="1890216"/>
                  <a:pt x="0" y="1856448"/>
                  <a:pt x="0" y="1814793"/>
                </a:cubicBezTo>
                <a:lnTo>
                  <a:pt x="503" y="1812303"/>
                </a:lnTo>
                <a:lnTo>
                  <a:pt x="0" y="1809813"/>
                </a:lnTo>
                <a:cubicBezTo>
                  <a:pt x="0" y="1768158"/>
                  <a:pt x="33768" y="1734390"/>
                  <a:pt x="75423" y="1734390"/>
                </a:cubicBezTo>
                <a:close/>
                <a:moveTo>
                  <a:pt x="438280" y="1387512"/>
                </a:moveTo>
                <a:cubicBezTo>
                  <a:pt x="479935" y="1387512"/>
                  <a:pt x="513703" y="1421280"/>
                  <a:pt x="513703" y="1462935"/>
                </a:cubicBezTo>
                <a:cubicBezTo>
                  <a:pt x="513703" y="1504590"/>
                  <a:pt x="479935" y="1538358"/>
                  <a:pt x="438280" y="1538358"/>
                </a:cubicBezTo>
                <a:cubicBezTo>
                  <a:pt x="396625" y="1538358"/>
                  <a:pt x="362857" y="1504590"/>
                  <a:pt x="362857" y="1462935"/>
                </a:cubicBezTo>
                <a:cubicBezTo>
                  <a:pt x="362857" y="1421280"/>
                  <a:pt x="396625" y="1387512"/>
                  <a:pt x="438280" y="1387512"/>
                </a:cubicBezTo>
                <a:close/>
                <a:moveTo>
                  <a:pt x="75423" y="1387512"/>
                </a:moveTo>
                <a:cubicBezTo>
                  <a:pt x="117078" y="1387512"/>
                  <a:pt x="150846" y="1421280"/>
                  <a:pt x="150846" y="1462935"/>
                </a:cubicBezTo>
                <a:cubicBezTo>
                  <a:pt x="150846" y="1504590"/>
                  <a:pt x="117078" y="1538358"/>
                  <a:pt x="75423" y="1538358"/>
                </a:cubicBezTo>
                <a:cubicBezTo>
                  <a:pt x="33768" y="1538358"/>
                  <a:pt x="0" y="1504590"/>
                  <a:pt x="0" y="1462935"/>
                </a:cubicBezTo>
                <a:cubicBezTo>
                  <a:pt x="0" y="1421280"/>
                  <a:pt x="33768" y="1387512"/>
                  <a:pt x="75423" y="1387512"/>
                </a:cubicBezTo>
                <a:close/>
                <a:moveTo>
                  <a:pt x="75423" y="1040634"/>
                </a:moveTo>
                <a:cubicBezTo>
                  <a:pt x="117078" y="1040634"/>
                  <a:pt x="150846" y="1074403"/>
                  <a:pt x="150846" y="1116057"/>
                </a:cubicBezTo>
                <a:cubicBezTo>
                  <a:pt x="150846" y="1157713"/>
                  <a:pt x="117078" y="1191480"/>
                  <a:pt x="75423" y="1191480"/>
                </a:cubicBezTo>
                <a:cubicBezTo>
                  <a:pt x="33768" y="1191480"/>
                  <a:pt x="0" y="1157713"/>
                  <a:pt x="0" y="1116057"/>
                </a:cubicBezTo>
                <a:cubicBezTo>
                  <a:pt x="0" y="1074403"/>
                  <a:pt x="33768" y="1040634"/>
                  <a:pt x="75423" y="1040634"/>
                </a:cubicBezTo>
                <a:close/>
                <a:moveTo>
                  <a:pt x="438280" y="1040634"/>
                </a:moveTo>
                <a:cubicBezTo>
                  <a:pt x="479935" y="1040634"/>
                  <a:pt x="513703" y="1074402"/>
                  <a:pt x="513703" y="1116057"/>
                </a:cubicBezTo>
                <a:cubicBezTo>
                  <a:pt x="513703" y="1157712"/>
                  <a:pt x="479935" y="1191480"/>
                  <a:pt x="438280" y="1191480"/>
                </a:cubicBezTo>
                <a:cubicBezTo>
                  <a:pt x="396625" y="1191480"/>
                  <a:pt x="362857" y="1157712"/>
                  <a:pt x="362857" y="1116057"/>
                </a:cubicBezTo>
                <a:cubicBezTo>
                  <a:pt x="362857" y="1074402"/>
                  <a:pt x="396625" y="1040634"/>
                  <a:pt x="438280" y="1040634"/>
                </a:cubicBezTo>
                <a:close/>
                <a:moveTo>
                  <a:pt x="438280" y="693756"/>
                </a:moveTo>
                <a:cubicBezTo>
                  <a:pt x="479935" y="693756"/>
                  <a:pt x="513703" y="727524"/>
                  <a:pt x="513703" y="769179"/>
                </a:cubicBezTo>
                <a:cubicBezTo>
                  <a:pt x="513703" y="810834"/>
                  <a:pt x="479935" y="844602"/>
                  <a:pt x="438280" y="844602"/>
                </a:cubicBezTo>
                <a:cubicBezTo>
                  <a:pt x="396625" y="844602"/>
                  <a:pt x="362857" y="810834"/>
                  <a:pt x="362857" y="769179"/>
                </a:cubicBezTo>
                <a:cubicBezTo>
                  <a:pt x="362857" y="727524"/>
                  <a:pt x="396625" y="693756"/>
                  <a:pt x="438280" y="693756"/>
                </a:cubicBezTo>
                <a:close/>
                <a:moveTo>
                  <a:pt x="75423" y="693756"/>
                </a:moveTo>
                <a:cubicBezTo>
                  <a:pt x="117078" y="693756"/>
                  <a:pt x="150846" y="727525"/>
                  <a:pt x="150846" y="769179"/>
                </a:cubicBezTo>
                <a:cubicBezTo>
                  <a:pt x="150846" y="810834"/>
                  <a:pt x="117078" y="844602"/>
                  <a:pt x="75423" y="844602"/>
                </a:cubicBezTo>
                <a:cubicBezTo>
                  <a:pt x="33768" y="844602"/>
                  <a:pt x="0" y="810834"/>
                  <a:pt x="0" y="769179"/>
                </a:cubicBezTo>
                <a:cubicBezTo>
                  <a:pt x="0" y="727525"/>
                  <a:pt x="33768" y="693756"/>
                  <a:pt x="75423" y="693756"/>
                </a:cubicBezTo>
                <a:close/>
                <a:moveTo>
                  <a:pt x="75423" y="346879"/>
                </a:moveTo>
                <a:cubicBezTo>
                  <a:pt x="117078" y="346879"/>
                  <a:pt x="150846" y="380647"/>
                  <a:pt x="150846" y="422302"/>
                </a:cubicBezTo>
                <a:cubicBezTo>
                  <a:pt x="150846" y="463957"/>
                  <a:pt x="117078" y="497724"/>
                  <a:pt x="75423" y="497724"/>
                </a:cubicBezTo>
                <a:cubicBezTo>
                  <a:pt x="33768" y="497724"/>
                  <a:pt x="0" y="463957"/>
                  <a:pt x="0" y="422302"/>
                </a:cubicBezTo>
                <a:cubicBezTo>
                  <a:pt x="0" y="380647"/>
                  <a:pt x="33768" y="346879"/>
                  <a:pt x="75423" y="346879"/>
                </a:cubicBezTo>
                <a:close/>
                <a:moveTo>
                  <a:pt x="438280" y="346878"/>
                </a:moveTo>
                <a:cubicBezTo>
                  <a:pt x="479935" y="346878"/>
                  <a:pt x="513703" y="380646"/>
                  <a:pt x="513703" y="422301"/>
                </a:cubicBezTo>
                <a:cubicBezTo>
                  <a:pt x="513703" y="463956"/>
                  <a:pt x="479935" y="497724"/>
                  <a:pt x="438280" y="497724"/>
                </a:cubicBezTo>
                <a:cubicBezTo>
                  <a:pt x="396625" y="497724"/>
                  <a:pt x="362857" y="463956"/>
                  <a:pt x="362857" y="422301"/>
                </a:cubicBezTo>
                <a:cubicBezTo>
                  <a:pt x="362857" y="380646"/>
                  <a:pt x="396625" y="346878"/>
                  <a:pt x="438280" y="346878"/>
                </a:cubicBezTo>
                <a:close/>
                <a:moveTo>
                  <a:pt x="75423" y="1"/>
                </a:moveTo>
                <a:cubicBezTo>
                  <a:pt x="117078" y="1"/>
                  <a:pt x="150846" y="33769"/>
                  <a:pt x="150846" y="75424"/>
                </a:cubicBezTo>
                <a:cubicBezTo>
                  <a:pt x="150846" y="117079"/>
                  <a:pt x="117078" y="150847"/>
                  <a:pt x="75423" y="150847"/>
                </a:cubicBezTo>
                <a:cubicBezTo>
                  <a:pt x="33768" y="150847"/>
                  <a:pt x="0" y="117079"/>
                  <a:pt x="0" y="75424"/>
                </a:cubicBezTo>
                <a:cubicBezTo>
                  <a:pt x="0" y="33769"/>
                  <a:pt x="33768" y="1"/>
                  <a:pt x="75423" y="1"/>
                </a:cubicBezTo>
                <a:close/>
                <a:moveTo>
                  <a:pt x="438280" y="0"/>
                </a:moveTo>
                <a:cubicBezTo>
                  <a:pt x="479935" y="0"/>
                  <a:pt x="513703" y="33769"/>
                  <a:pt x="513703" y="75424"/>
                </a:cubicBezTo>
                <a:cubicBezTo>
                  <a:pt x="513703" y="117079"/>
                  <a:pt x="479935" y="150847"/>
                  <a:pt x="438280" y="150847"/>
                </a:cubicBezTo>
                <a:cubicBezTo>
                  <a:pt x="396625" y="150847"/>
                  <a:pt x="362857" y="117079"/>
                  <a:pt x="362857" y="75424"/>
                </a:cubicBezTo>
                <a:cubicBezTo>
                  <a:pt x="362857" y="33769"/>
                  <a:pt x="396625" y="0"/>
                  <a:pt x="438280" y="0"/>
                </a:cubicBezTo>
                <a:close/>
              </a:path>
            </a:pathLst>
          </a:custGeom>
          <a:gradFill>
            <a:gsLst>
              <a:gs pos="74000">
                <a:schemeClr val="accent2">
                  <a:alpha val="70000"/>
                </a:schemeClr>
              </a:gs>
              <a:gs pos="0">
                <a:schemeClr val="accent4">
                  <a:alpha val="70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46634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2</a:t>
            </a:r>
          </a:p>
        </p:txBody>
      </p:sp>
      <p:graphicFrame>
        <p:nvGraphicFramePr>
          <p:cNvPr id="12" name="表格 11"/>
          <p:cNvGraphicFramePr/>
          <p:nvPr>
            <p:custDataLst>
              <p:tags r:id="rId1"/>
            </p:custDataLst>
          </p:nvPr>
        </p:nvGraphicFramePr>
        <p:xfrm>
          <a:off x="1484630" y="2017395"/>
          <a:ext cx="9430385" cy="3804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9425"/>
                <a:gridCol w="768096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键值</a:t>
                      </a:r>
                      <a:endParaRPr lang="zh-CN" alt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800">
                          <a:sym typeface="+mn-ea"/>
                        </a:rPr>
                        <a:t>释义</a:t>
                      </a:r>
                      <a:endParaRPr lang="zh-CN" altLang="en-US"/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SELE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SELECT数据库，数据库从0到15（一共16个数据库）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MO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MOVE key 数据库，将当前数据中的key转移到其它数据库中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ERSI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PERSIST key，移除给定key的过期时间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ANDOMKE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ANDOMKEY随机返回key空间的一个key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RENAME existed_key new_key，重命名key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Y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TYPE 命令获取指定key关联值的类型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0893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KEYS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543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KEY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返回满足给定pattern的所有keys。KEYS [pattern]查看匹配模式的键, pattern支持通配符。</a:t>
                      </a:r>
                    </a:p>
                  </a:txBody>
                  <a:tcPr anchor="ctr"/>
                </a:tc>
              </a:tr>
              <a:tr h="2717800">
                <a:tc gridSpan="2"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支持以下通配符：</a:t>
                      </a:r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marL="726440" indent="-481965" algn="l">
                        <a:lnSpc>
                          <a:spcPct val="13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*</a:t>
                      </a:r>
                      <a:r>
                        <a:rPr lang="en-US" altLang="zh-CN"/>
                        <a:t>  </a:t>
                      </a:r>
                      <a:r>
                        <a:rPr lang="zh-CN" altLang="en-US"/>
                        <a:t>匹配任意字符</a:t>
                      </a:r>
                    </a:p>
                    <a:p>
                      <a:pPr marL="726440" indent="-481965" algn="l">
                        <a:lnSpc>
                          <a:spcPct val="130000"/>
                        </a:lnSpc>
                        <a:buNone/>
                      </a:pPr>
                      <a:r>
                        <a:rPr lang="zh-CN" altLang="en-US"/>
                        <a:t></a:t>
                      </a:r>
                      <a:r>
                        <a:rPr lang="zh-CN" altLang="en-US" b="1"/>
                        <a:t>?  </a:t>
                      </a:r>
                      <a:r>
                        <a:rPr lang="en-US" altLang="zh-CN"/>
                        <a:t> </a:t>
                      </a:r>
                      <a:r>
                        <a:rPr lang="zh-CN" altLang="en-US"/>
                        <a:t>匹配一个任意字符</a:t>
                      </a:r>
                    </a:p>
                    <a:p>
                      <a:pPr marL="946785" indent="-701675" algn="l">
                        <a:lnSpc>
                          <a:spcPct val="130000"/>
                        </a:lnSpc>
                        <a:buNone/>
                      </a:pPr>
                      <a:r>
                        <a:rPr lang="en-US" altLang="zh-CN"/>
                        <a:t>   </a:t>
                      </a:r>
                      <a:r>
                        <a:rPr lang="en-US" altLang="zh-CN" b="1"/>
                        <a:t> </a:t>
                      </a:r>
                      <a:r>
                        <a:rPr lang="zh-CN" altLang="en-US" b="1"/>
                        <a:t>[</a:t>
                      </a:r>
                      <a:r>
                        <a:rPr lang="en-US" altLang="zh-CN" b="1"/>
                        <a:t> </a:t>
                      </a:r>
                      <a:r>
                        <a:rPr lang="zh-CN" altLang="en-US" b="1"/>
                        <a:t>]</a:t>
                      </a:r>
                      <a:r>
                        <a:rPr lang="en-US" altLang="zh-CN"/>
                        <a:t>  </a:t>
                      </a:r>
                      <a:r>
                        <a:rPr lang="zh-CN" altLang="en-US"/>
                        <a:t>匹配方括号之间的字符串，比如通配符 [a-z] ,是匹配26个字符中的任意长度字符,通配符 a[b-e]匹配 ab, ac , ad 和 ae字符窜。</a:t>
                      </a:r>
                    </a:p>
                    <a:p>
                      <a:pPr marL="726440" indent="-481965" algn="l">
                        <a:lnSpc>
                          <a:spcPct val="130000"/>
                        </a:lnSpc>
                        <a:buNone/>
                      </a:pPr>
                      <a:r>
                        <a:rPr lang="zh-CN" altLang="en-US"/>
                        <a:t></a:t>
                      </a:r>
                      <a:r>
                        <a:rPr lang="zh-CN" altLang="en-US" b="1"/>
                        <a:t>\x</a:t>
                      </a:r>
                      <a:r>
                        <a:rPr lang="en-US" altLang="zh-CN"/>
                        <a:t> </a:t>
                      </a:r>
                      <a:r>
                        <a:rPr lang="zh-CN" altLang="en-US"/>
                        <a:t> 匹配特殊字符, \?, \*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0893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KEYS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2470"/>
          <a:ext cx="9226550" cy="39916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3991610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示例：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4570" y="2216150"/>
            <a:ext cx="5631180" cy="352679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0893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KEYS</a:t>
            </a: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2470"/>
          <a:ext cx="9226550" cy="4025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4025265"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/>
                        <a:t>示例：</a:t>
                      </a:r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endParaRPr lang="zh-CN" altLang="en-US"/>
                    </a:p>
                    <a:p>
                      <a:pPr algn="l">
                        <a:buNone/>
                      </a:pPr>
                      <a:r>
                        <a:rPr lang="en-US" altLang="zh-CN"/>
                        <a:t>          </a:t>
                      </a:r>
                      <a:r>
                        <a:rPr lang="zh-CN" altLang="en-US"/>
                        <a:t>使用 keys * ,得到当前Redis数据库中存在的键名。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8530" y="2289175"/>
            <a:ext cx="5277485" cy="2880995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460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36849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050"/>
                <a:gridCol w="7429500"/>
              </a:tblGrid>
              <a:tr h="78359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键值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释义</a:t>
                      </a:r>
                    </a:p>
                  </a:txBody>
                  <a:tcPr anchor="ctr"/>
                </a:tc>
              </a:tr>
              <a:tr h="290131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/>
                        <a:t>SC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buNone/>
                      </a:pPr>
                      <a:r>
                        <a:rPr lang="zh-CN" altLang="en-US"/>
                        <a:t>Redis Scan 命令用于迭代数据库中的数据库键。SCAN 命令是一个基于游标的迭代器，每次被调用之后， 都会向用户返回一个新的游标， 用户在下次迭代时需要使用这个新游标作为 SCAN 命令的游标参数， 以此来延续之前的迭代过程。</a:t>
                      </a:r>
                    </a:p>
                    <a:p>
                      <a:pPr algn="l">
                        <a:lnSpc>
                          <a:spcPct val="120000"/>
                        </a:lnSpc>
                        <a:buNone/>
                      </a:pPr>
                      <a:endParaRPr lang="zh-CN" altLang="en-US"/>
                    </a:p>
                    <a:p>
                      <a:pPr algn="l">
                        <a:lnSpc>
                          <a:spcPct val="120000"/>
                        </a:lnSpc>
                        <a:buNone/>
                      </a:pPr>
                      <a:r>
                        <a:rPr lang="zh-CN" altLang="en-US"/>
                        <a:t>SCAN 返回一个包含两个元素的数组， 第一个元素是用于进行下一次迭代的新游标， 而第二个元素则是一个数组， 这个数组中包含了所有被迭代的元素。如果新游标返回 0 表示迭代已结束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占位符 13"/>
          <p:cNvSpPr txBox="1"/>
          <p:nvPr/>
        </p:nvSpPr>
        <p:spPr>
          <a:xfrm>
            <a:off x="669925" y="5602927"/>
            <a:ext cx="108505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/>
              <a:t>Date</a:t>
            </a:r>
            <a:endParaRPr lang="zh-CN" altLang="en-US" dirty="0"/>
          </a:p>
        </p:txBody>
      </p:sp>
      <p:sp>
        <p:nvSpPr>
          <p:cNvPr id="19" name="任意多边形: 形状 18"/>
          <p:cNvSpPr/>
          <p:nvPr/>
        </p:nvSpPr>
        <p:spPr>
          <a:xfrm>
            <a:off x="-9525" y="-1"/>
            <a:ext cx="12201525" cy="1255073"/>
          </a:xfrm>
          <a:custGeom>
            <a:avLst/>
            <a:gdLst>
              <a:gd name="connsiteX0" fmla="*/ 19050 w 12201525"/>
              <a:gd name="connsiteY0" fmla="*/ 0 h 1028700"/>
              <a:gd name="connsiteX1" fmla="*/ 0 w 12201525"/>
              <a:gd name="connsiteY1" fmla="*/ 1028700 h 1028700"/>
              <a:gd name="connsiteX2" fmla="*/ 1743075 w 12201525"/>
              <a:gd name="connsiteY2" fmla="*/ 1028700 h 1028700"/>
              <a:gd name="connsiteX3" fmla="*/ 4381500 w 12201525"/>
              <a:gd name="connsiteY3" fmla="*/ 466725 h 1028700"/>
              <a:gd name="connsiteX4" fmla="*/ 6572250 w 12201525"/>
              <a:gd name="connsiteY4" fmla="*/ 285750 h 1028700"/>
              <a:gd name="connsiteX5" fmla="*/ 9115425 w 12201525"/>
              <a:gd name="connsiteY5" fmla="*/ 352425 h 1028700"/>
              <a:gd name="connsiteX6" fmla="*/ 11220450 w 12201525"/>
              <a:gd name="connsiteY6" fmla="*/ 619125 h 1028700"/>
              <a:gd name="connsiteX7" fmla="*/ 12201525 w 12201525"/>
              <a:gd name="connsiteY7" fmla="*/ 762000 h 1028700"/>
              <a:gd name="connsiteX8" fmla="*/ 12182475 w 12201525"/>
              <a:gd name="connsiteY8" fmla="*/ 0 h 1028700"/>
              <a:gd name="connsiteX9" fmla="*/ 19050 w 12201525"/>
              <a:gd name="connsiteY9" fmla="*/ 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01525" h="1028700">
                <a:moveTo>
                  <a:pt x="19050" y="0"/>
                </a:moveTo>
                <a:lnTo>
                  <a:pt x="0" y="1028700"/>
                </a:lnTo>
                <a:lnTo>
                  <a:pt x="1743075" y="1028700"/>
                </a:lnTo>
                <a:lnTo>
                  <a:pt x="4381500" y="466725"/>
                </a:lnTo>
                <a:lnTo>
                  <a:pt x="6572250" y="285750"/>
                </a:lnTo>
                <a:lnTo>
                  <a:pt x="9115425" y="352425"/>
                </a:lnTo>
                <a:lnTo>
                  <a:pt x="11220450" y="619125"/>
                </a:lnTo>
                <a:lnTo>
                  <a:pt x="12201525" y="762000"/>
                </a:lnTo>
                <a:lnTo>
                  <a:pt x="12182475" y="0"/>
                </a:lnTo>
                <a:lnTo>
                  <a:pt x="19050" y="0"/>
                </a:lnTo>
                <a:close/>
              </a:path>
            </a:pathLst>
          </a:custGeom>
          <a:solidFill>
            <a:schemeClr val="accent3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771525" y="257830"/>
            <a:ext cx="19800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内容导航：</a:t>
            </a:r>
          </a:p>
        </p:txBody>
      </p:sp>
      <p:sp>
        <p:nvSpPr>
          <p:cNvPr id="8" name="矩形 7"/>
          <p:cNvSpPr/>
          <p:nvPr/>
        </p:nvSpPr>
        <p:spPr>
          <a:xfrm>
            <a:off x="-9526" y="6375042"/>
            <a:ext cx="12201526" cy="482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-9525" y="261620"/>
            <a:ext cx="12201525" cy="1129030"/>
          </a:xfrm>
          <a:custGeom>
            <a:avLst/>
            <a:gdLst>
              <a:gd name="connsiteX0" fmla="*/ 7144392 w 12325350"/>
              <a:gd name="connsiteY0" fmla="*/ 261 h 6478847"/>
              <a:gd name="connsiteX1" fmla="*/ 8214533 w 12325350"/>
              <a:gd name="connsiteY1" fmla="*/ 121934 h 6478847"/>
              <a:gd name="connsiteX2" fmla="*/ 10903294 w 12325350"/>
              <a:gd name="connsiteY2" fmla="*/ 1454273 h 6478847"/>
              <a:gd name="connsiteX3" fmla="*/ 12325350 w 12325350"/>
              <a:gd name="connsiteY3" fmla="*/ 2857357 h 6478847"/>
              <a:gd name="connsiteX4" fmla="*/ 12325350 w 12325350"/>
              <a:gd name="connsiteY4" fmla="*/ 5321595 h 6478847"/>
              <a:gd name="connsiteX5" fmla="*/ 6864178 w 12325350"/>
              <a:gd name="connsiteY5" fmla="*/ 1555476 h 6478847"/>
              <a:gd name="connsiteX6" fmla="*/ 3518165 w 12325350"/>
              <a:gd name="connsiteY6" fmla="*/ 4703571 h 6478847"/>
              <a:gd name="connsiteX7" fmla="*/ 4850 w 12325350"/>
              <a:gd name="connsiteY7" fmla="*/ 6371943 h 6478847"/>
              <a:gd name="connsiteX8" fmla="*/ 0 w 12325350"/>
              <a:gd name="connsiteY8" fmla="*/ 6083424 h 6478847"/>
              <a:gd name="connsiteX9" fmla="*/ 0 w 12325350"/>
              <a:gd name="connsiteY9" fmla="*/ 4957873 h 6478847"/>
              <a:gd name="connsiteX10" fmla="*/ 27210 w 12325350"/>
              <a:gd name="connsiteY10" fmla="*/ 4967674 h 6478847"/>
              <a:gd name="connsiteX11" fmla="*/ 2335110 w 12325350"/>
              <a:gd name="connsiteY11" fmla="*/ 3646345 h 6478847"/>
              <a:gd name="connsiteX12" fmla="*/ 7144392 w 12325350"/>
              <a:gd name="connsiteY12" fmla="*/ 261 h 6478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25350" h="6478847">
                <a:moveTo>
                  <a:pt x="7144392" y="261"/>
                </a:moveTo>
                <a:cubicBezTo>
                  <a:pt x="7479248" y="-3556"/>
                  <a:pt x="7835119" y="34487"/>
                  <a:pt x="8214533" y="121934"/>
                </a:cubicBezTo>
                <a:cubicBezTo>
                  <a:pt x="9475264" y="412769"/>
                  <a:pt x="10281892" y="1000335"/>
                  <a:pt x="10903294" y="1454273"/>
                </a:cubicBezTo>
                <a:cubicBezTo>
                  <a:pt x="11940956" y="2211820"/>
                  <a:pt x="12295475" y="2846549"/>
                  <a:pt x="12325350" y="2857357"/>
                </a:cubicBezTo>
                <a:cubicBezTo>
                  <a:pt x="12325350" y="5321595"/>
                  <a:pt x="12325350" y="5321595"/>
                  <a:pt x="12325350" y="5321595"/>
                </a:cubicBezTo>
                <a:cubicBezTo>
                  <a:pt x="12325350" y="5321595"/>
                  <a:pt x="9373688" y="1135927"/>
                  <a:pt x="6864178" y="1555476"/>
                </a:cubicBezTo>
                <a:cubicBezTo>
                  <a:pt x="5941038" y="1709737"/>
                  <a:pt x="5250922" y="2295337"/>
                  <a:pt x="3518165" y="4703571"/>
                </a:cubicBezTo>
                <a:cubicBezTo>
                  <a:pt x="1785408" y="7110821"/>
                  <a:pt x="4850" y="6371943"/>
                  <a:pt x="4850" y="6371943"/>
                </a:cubicBezTo>
                <a:lnTo>
                  <a:pt x="0" y="6083424"/>
                </a:lnTo>
                <a:lnTo>
                  <a:pt x="0" y="4957873"/>
                </a:lnTo>
                <a:lnTo>
                  <a:pt x="27210" y="4967674"/>
                </a:lnTo>
                <a:cubicBezTo>
                  <a:pt x="239930" y="5036640"/>
                  <a:pt x="1164005" y="5214497"/>
                  <a:pt x="2335110" y="3646345"/>
                </a:cubicBezTo>
                <a:cubicBezTo>
                  <a:pt x="3486174" y="2104845"/>
                  <a:pt x="4800399" y="26979"/>
                  <a:pt x="7144392" y="261"/>
                </a:cubicBezTo>
                <a:close/>
              </a:path>
            </a:pathLst>
          </a:custGeom>
          <a:gradFill flip="none" rotWithShape="1">
            <a:gsLst>
              <a:gs pos="14000">
                <a:schemeClr val="accent2"/>
              </a:gs>
              <a:gs pos="84000">
                <a:srgbClr val="FFFF00"/>
              </a:gs>
            </a:gsLst>
            <a:lin ang="48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gradFill>
                <a:gsLst>
                  <a:gs pos="100000">
                    <a:schemeClr val="accent3"/>
                  </a:gs>
                  <a:gs pos="0">
                    <a:schemeClr val="accent4"/>
                  </a:gs>
                </a:gsLst>
                <a:lin ang="13500000" scaled="1"/>
              </a:gradFill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4475" y="261476"/>
            <a:ext cx="527050" cy="527050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673" y="1390608"/>
            <a:ext cx="527050" cy="52705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00" name="矩形 99"/>
          <p:cNvSpPr/>
          <p:nvPr/>
        </p:nvSpPr>
        <p:spPr>
          <a:xfrm>
            <a:off x="1484630" y="1390650"/>
            <a:ext cx="2943225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buNone/>
            </a:pPr>
            <a:r>
              <a:rPr lang="zh-CN" altLang="en-US" sz="2400" dirty="0">
                <a:solidFill>
                  <a:srgbClr val="000000"/>
                </a:solidFill>
                <a:sym typeface="+mn-ea"/>
              </a:rPr>
              <a:t>键值相关命令</a:t>
            </a:r>
            <a:r>
              <a:rPr lang="en-US" altLang="zh-CN" sz="2400" dirty="0">
                <a:solidFill>
                  <a:srgbClr val="000000"/>
                </a:solidFill>
                <a:sym typeface="+mn-ea"/>
              </a:rPr>
              <a:t> </a:t>
            </a:r>
            <a:r>
              <a:rPr lang="zh-CN" altLang="en-US" sz="2400">
                <a:sym typeface="+mn-ea"/>
              </a:rPr>
              <a:t>SCAN</a:t>
            </a:r>
          </a:p>
          <a:p>
            <a:pPr algn="l">
              <a:buNone/>
            </a:pPr>
            <a:endParaRPr lang="en-US" altLang="zh-CN" sz="2400" dirty="0">
              <a:solidFill>
                <a:srgbClr val="000000"/>
              </a:solidFill>
              <a:sym typeface="+mn-ea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1"/>
            </p:custDataLst>
          </p:nvPr>
        </p:nvGraphicFramePr>
        <p:xfrm>
          <a:off x="1484630" y="1986915"/>
          <a:ext cx="9226550" cy="2635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26550"/>
              </a:tblGrid>
              <a:tr h="263525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buNone/>
                      </a:pPr>
                      <a:r>
                        <a:rPr lang="zh-CN" altLang="en-US"/>
                        <a:t>SCAN命令的基本语法：</a:t>
                      </a:r>
                    </a:p>
                    <a:p>
                      <a:pPr marL="726440" indent="-481965" algn="l">
                        <a:lnSpc>
                          <a:spcPct val="150000"/>
                        </a:lnSpc>
                        <a:buNone/>
                      </a:pPr>
                      <a:r>
                        <a:rPr lang="en-US" altLang="zh-CN"/>
                        <a:t>  </a:t>
                      </a:r>
                      <a:r>
                        <a:rPr lang="zh-CN" altLang="en-US" b="1"/>
                        <a:t></a:t>
                      </a:r>
                      <a:r>
                        <a:t>SCAN cursor [MATCH pattern] [COUNT count]</a:t>
                      </a:r>
                    </a:p>
                    <a:p>
                      <a:pPr marL="564515" indent="-564515" algn="l">
                        <a:lnSpc>
                          <a:spcPct val="150000"/>
                        </a:lnSpc>
                        <a:buNone/>
                      </a:pPr>
                      <a:r>
                        <a:t>SCAN命令的参数</a:t>
                      </a:r>
                      <a:r>
                        <a:rPr lang="zh-CN"/>
                        <a:t>：</a:t>
                      </a:r>
                    </a:p>
                    <a:p>
                      <a:pPr marL="593725" indent="44450" algn="l">
                        <a:lnSpc>
                          <a:spcPct val="150000"/>
                        </a:lnSpc>
                        <a:buNone/>
                      </a:pPr>
                      <a:r>
                        <a:t>cursor : 游标。</a:t>
                      </a:r>
                    </a:p>
                    <a:p>
                      <a:pPr marL="593725" indent="44450" algn="l">
                        <a:lnSpc>
                          <a:spcPct val="150000"/>
                        </a:lnSpc>
                        <a:buNone/>
                      </a:pPr>
                      <a:r>
                        <a:t>pattern : 匹配的模式。</a:t>
                      </a:r>
                    </a:p>
                    <a:p>
                      <a:pPr marL="593725" indent="44450" algn="l">
                        <a:lnSpc>
                          <a:spcPct val="150000"/>
                        </a:lnSpc>
                        <a:buNone/>
                      </a:pPr>
                      <a:r>
                        <a:t>count : 指定从数据集里返回多少元素，默认值为 10</a:t>
                      </a: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74baa65-1bcf-453b-aed6-4412331b316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207"/>
  <p:tag name="TABLE_ENDDRAG_RECT" val="116*156*726*20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08"/>
  <p:tag name="TABLE_ENDDRAG_RECT" val="116*156*726*30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08"/>
  <p:tag name="TABLE_ENDDRAG_RECT" val="116*156*726*30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2"/>
  <p:tag name="TABLE_ENDDRAG_RECT" val="116*156*726*33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1"/>
  <p:tag name="TABLE_ENDDRAG_RECT" val="116*156*726*33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35"/>
  <p:tag name="TABLE_ENDDRAG_RECT" val="116*156*726*33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47"/>
  <p:tag name="TABLE_ENDDRAG_RECT" val="116*146*726*34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6"/>
  <p:tag name="TABLE_ENDDRAG_RECT" val="116*156*726*32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20"/>
  <p:tag name="TABLE_ENDDRAG_RECT" val="116*156*726*32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0055d41b-63b8-4c8c-99e0-a01c9d1ba5a9}"/>
  <p:tag name="TABLE_ENDDRAG_ORIGIN_RECT" val="326*299"/>
  <p:tag name="TABLE_ENDDRAG_RECT" val="144*165*326*29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326*299"/>
  <p:tag name="TABLE_ENDDRAG_RECT" val="144*165*326*29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14"/>
  <p:tag name="TABLE_ENDDRAG_RECT" val="116*156*726*31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316"/>
  <p:tag name="TABLE_ENDDRAG_RECT" val="116*156*726*31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290"/>
  <p:tag name="TABLE_ENDDRAG_RECT" val="116*156*726*29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1c353507-25bb-4930-b727-3cdd9cc09ae2}"/>
  <p:tag name="TABLE_ENDDRAG_ORIGIN_RECT" val="726*207"/>
  <p:tag name="TABLE_ENDDRAG_RECT" val="116*156*726*207"/>
</p:tagLst>
</file>

<file path=ppt/theme/theme1.xml><?xml version="1.0" encoding="utf-8"?>
<a:theme xmlns:a="http://schemas.openxmlformats.org/drawingml/2006/main" name="主题5">
  <a:themeElements>
    <a:clrScheme name="自定义 15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416B"/>
      </a:accent1>
      <a:accent2>
        <a:srgbClr val="FFC000"/>
      </a:accent2>
      <a:accent3>
        <a:srgbClr val="00002E"/>
      </a:accent3>
      <a:accent4>
        <a:srgbClr val="031684"/>
      </a:accent4>
      <a:accent5>
        <a:srgbClr val="969696"/>
      </a:accent5>
      <a:accent6>
        <a:srgbClr val="B2B2B2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3</TotalTime>
  <Words>1851</Words>
  <Application>Microsoft Office PowerPoint</Application>
  <PresentationFormat>宽屏</PresentationFormat>
  <Paragraphs>368</Paragraphs>
  <Slides>34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4</vt:i4>
      </vt:variant>
    </vt:vector>
  </HeadingPairs>
  <TitlesOfParts>
    <vt:vector size="40" baseType="lpstr">
      <vt:lpstr>宋体</vt:lpstr>
      <vt:lpstr>微软雅黑</vt:lpstr>
      <vt:lpstr>Arial</vt:lpstr>
      <vt:lpstr>Calibri</vt:lpstr>
      <vt:lpstr>Times New Roman</vt:lpstr>
      <vt:lpstr>主题5</vt:lpstr>
      <vt:lpstr>Redis 6 开发与实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谢谢！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angshuo</cp:lastModifiedBy>
  <cp:revision>163</cp:revision>
  <cp:lastPrinted>2019-04-18T16:00:00Z</cp:lastPrinted>
  <dcterms:created xsi:type="dcterms:W3CDTF">2019-04-18T16:00:00Z</dcterms:created>
  <dcterms:modified xsi:type="dcterms:W3CDTF">2022-03-12T14:53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F550D6099EDE423F9644FD0920CD3DFA</vt:lpwstr>
  </property>
  <property fmtid="{D5CDD505-2E9C-101B-9397-08002B2CF9AE}" pid="4" name="KSOProductBuildVer">
    <vt:lpwstr>2052-11.1.0.11365</vt:lpwstr>
  </property>
</Properties>
</file>